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ink/ink2.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68" r:id="rId2"/>
    <p:sldId id="265" r:id="rId3"/>
    <p:sldId id="275" r:id="rId4"/>
    <p:sldId id="261" r:id="rId5"/>
    <p:sldId id="256" r:id="rId6"/>
    <p:sldId id="264" r:id="rId7"/>
    <p:sldId id="266" r:id="rId8"/>
    <p:sldId id="262" r:id="rId9"/>
    <p:sldId id="270" r:id="rId10"/>
    <p:sldId id="269" r:id="rId11"/>
    <p:sldId id="271" r:id="rId12"/>
    <p:sldId id="273"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am Muffitt" initials="AM" lastIdx="2" clrIdx="0">
    <p:extLst>
      <p:ext uri="{19B8F6BF-5375-455C-9EA6-DF929625EA0E}">
        <p15:presenceInfo xmlns:p15="http://schemas.microsoft.com/office/powerpoint/2012/main" userId="f87af694dad07f1b" providerId="Windows Live"/>
      </p:ext>
    </p:extLst>
  </p:cmAuthor>
  <p:cmAuthor id="2" name="Sharon Shandukani" initials="SS" lastIdx="3" clrIdx="1">
    <p:extLst>
      <p:ext uri="{19B8F6BF-5375-455C-9EA6-DF929625EA0E}">
        <p15:presenceInfo xmlns:p15="http://schemas.microsoft.com/office/powerpoint/2012/main" userId="b3f2d01030c4b3d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D70CAF-C3D1-4333-B799-C2882D553C74}" v="134" dt="2020-04-08T20:18:27.086"/>
    <p1510:client id="{EA651DB0-1CE9-42EF-9CE0-582D1077813D}" v="1" dt="2020-04-08T19:57:52.2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99" d="100"/>
          <a:sy n="99" d="100"/>
        </p:scale>
        <p:origin x="90" y="4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am Muffitt" userId="f87af694dad07f1b" providerId="LiveId" clId="{3243DF7A-D6FA-4FF5-AE38-4125BB9ADDC4}"/>
    <pc:docChg chg="custSel addSld modSld">
      <pc:chgData name="Adam Muffitt" userId="f87af694dad07f1b" providerId="LiveId" clId="{3243DF7A-D6FA-4FF5-AE38-4125BB9ADDC4}" dt="2020-04-06T20:38:26.786" v="1006" actId="478"/>
      <pc:docMkLst>
        <pc:docMk/>
      </pc:docMkLst>
      <pc:sldChg chg="delSp modSp">
        <pc:chgData name="Adam Muffitt" userId="f87af694dad07f1b" providerId="LiveId" clId="{3243DF7A-D6FA-4FF5-AE38-4125BB9ADDC4}" dt="2020-04-06T20:38:26.786" v="1006" actId="478"/>
        <pc:sldMkLst>
          <pc:docMk/>
          <pc:sldMk cId="0" sldId="260"/>
        </pc:sldMkLst>
        <pc:spChg chg="del">
          <ac:chgData name="Adam Muffitt" userId="f87af694dad07f1b" providerId="LiveId" clId="{3243DF7A-D6FA-4FF5-AE38-4125BB9ADDC4}" dt="2020-04-06T20:38:26.786" v="1006" actId="478"/>
          <ac:spMkLst>
            <pc:docMk/>
            <pc:sldMk cId="0" sldId="260"/>
            <ac:spMk id="6" creationId="{066F6192-56BF-464B-97B3-E4F82A818378}"/>
          </ac:spMkLst>
        </pc:spChg>
        <pc:spChg chg="del mod">
          <ac:chgData name="Adam Muffitt" userId="f87af694dad07f1b" providerId="LiveId" clId="{3243DF7A-D6FA-4FF5-AE38-4125BB9ADDC4}" dt="2020-04-06T20:38:26.786" v="1006" actId="478"/>
          <ac:spMkLst>
            <pc:docMk/>
            <pc:sldMk cId="0" sldId="260"/>
            <ac:spMk id="12" creationId="{64688C8E-B8D8-49E9-B5D8-CFD8EA83D661}"/>
          </ac:spMkLst>
        </pc:spChg>
        <pc:spChg chg="del">
          <ac:chgData name="Adam Muffitt" userId="f87af694dad07f1b" providerId="LiveId" clId="{3243DF7A-D6FA-4FF5-AE38-4125BB9ADDC4}" dt="2020-04-06T20:38:26.786" v="1006" actId="478"/>
          <ac:spMkLst>
            <pc:docMk/>
            <pc:sldMk cId="0" sldId="260"/>
            <ac:spMk id="16" creationId="{341455EE-C3A8-42FA-94CE-6DE0D25BAF4D}"/>
          </ac:spMkLst>
        </pc:spChg>
        <pc:spChg chg="del">
          <ac:chgData name="Adam Muffitt" userId="f87af694dad07f1b" providerId="LiveId" clId="{3243DF7A-D6FA-4FF5-AE38-4125BB9ADDC4}" dt="2020-04-06T20:38:12.248" v="1001" actId="478"/>
          <ac:spMkLst>
            <pc:docMk/>
            <pc:sldMk cId="0" sldId="260"/>
            <ac:spMk id="18" creationId="{EC6C8E44-D3F8-40E4-8C8F-7AFB8810B600}"/>
          </ac:spMkLst>
        </pc:spChg>
        <pc:graphicFrameChg chg="del">
          <ac:chgData name="Adam Muffitt" userId="f87af694dad07f1b" providerId="LiveId" clId="{3243DF7A-D6FA-4FF5-AE38-4125BB9ADDC4}" dt="2020-04-06T20:38:09.974" v="1000" actId="478"/>
          <ac:graphicFrameMkLst>
            <pc:docMk/>
            <pc:sldMk cId="0" sldId="260"/>
            <ac:graphicFrameMk id="14" creationId="{8105E54D-E85D-49A5-831D-7F71D34A7DF7}"/>
          </ac:graphicFrameMkLst>
        </pc:graphicFrameChg>
        <pc:picChg chg="del">
          <ac:chgData name="Adam Muffitt" userId="f87af694dad07f1b" providerId="LiveId" clId="{3243DF7A-D6FA-4FF5-AE38-4125BB9ADDC4}" dt="2020-04-06T20:38:18.244" v="1004" actId="478"/>
          <ac:picMkLst>
            <pc:docMk/>
            <pc:sldMk cId="0" sldId="260"/>
            <ac:picMk id="3" creationId="{BF02EC25-A6DE-431E-976B-ED7482D928D4}"/>
          </ac:picMkLst>
        </pc:picChg>
        <pc:cxnChg chg="del mod">
          <ac:chgData name="Adam Muffitt" userId="f87af694dad07f1b" providerId="LiveId" clId="{3243DF7A-D6FA-4FF5-AE38-4125BB9ADDC4}" dt="2020-04-06T20:38:26.786" v="1006" actId="478"/>
          <ac:cxnSpMkLst>
            <pc:docMk/>
            <pc:sldMk cId="0" sldId="260"/>
            <ac:cxnSpMk id="8" creationId="{04AFCAE7-BB5E-4408-BE7B-E6E8C784F90F}"/>
          </ac:cxnSpMkLst>
        </pc:cxnChg>
        <pc:cxnChg chg="del mod">
          <ac:chgData name="Adam Muffitt" userId="f87af694dad07f1b" providerId="LiveId" clId="{3243DF7A-D6FA-4FF5-AE38-4125BB9ADDC4}" dt="2020-04-06T20:38:26.786" v="1006" actId="478"/>
          <ac:cxnSpMkLst>
            <pc:docMk/>
            <pc:sldMk cId="0" sldId="260"/>
            <ac:cxnSpMk id="13" creationId="{12D43BEA-A510-4A88-A557-6D14D0E419FA}"/>
          </ac:cxnSpMkLst>
        </pc:cxnChg>
        <pc:cxnChg chg="mod">
          <ac:chgData name="Adam Muffitt" userId="f87af694dad07f1b" providerId="LiveId" clId="{3243DF7A-D6FA-4FF5-AE38-4125BB9ADDC4}" dt="2020-04-06T20:38:26.786" v="1006" actId="478"/>
          <ac:cxnSpMkLst>
            <pc:docMk/>
            <pc:sldMk cId="0" sldId="260"/>
            <ac:cxnSpMk id="17" creationId="{1F333131-1AD8-47A8-83D8-EEC4AB6F603F}"/>
          </ac:cxnSpMkLst>
        </pc:cxnChg>
        <pc:cxnChg chg="del">
          <ac:chgData name="Adam Muffitt" userId="f87af694dad07f1b" providerId="LiveId" clId="{3243DF7A-D6FA-4FF5-AE38-4125BB9ADDC4}" dt="2020-04-06T20:38:16.265" v="1003" actId="478"/>
          <ac:cxnSpMkLst>
            <pc:docMk/>
            <pc:sldMk cId="0" sldId="260"/>
            <ac:cxnSpMk id="19" creationId="{C3419328-2849-4222-987C-C26BB6BA0449}"/>
          </ac:cxnSpMkLst>
        </pc:cxnChg>
        <pc:cxnChg chg="del mod">
          <ac:chgData name="Adam Muffitt" userId="f87af694dad07f1b" providerId="LiveId" clId="{3243DF7A-D6FA-4FF5-AE38-4125BB9ADDC4}" dt="2020-04-06T20:38:14.186" v="1002" actId="478"/>
          <ac:cxnSpMkLst>
            <pc:docMk/>
            <pc:sldMk cId="0" sldId="260"/>
            <ac:cxnSpMk id="21" creationId="{EB2AF516-2D85-4CFD-8A79-59F5C8A52B13}"/>
          </ac:cxnSpMkLst>
        </pc:cxnChg>
      </pc:sldChg>
      <pc:sldChg chg="addSp delSp modSp">
        <pc:chgData name="Adam Muffitt" userId="f87af694dad07f1b" providerId="LiveId" clId="{3243DF7A-D6FA-4FF5-AE38-4125BB9ADDC4}" dt="2020-04-06T20:33:14.577" v="655" actId="1036"/>
        <pc:sldMkLst>
          <pc:docMk/>
          <pc:sldMk cId="705546220" sldId="264"/>
        </pc:sldMkLst>
        <pc:spChg chg="add mod">
          <ac:chgData name="Adam Muffitt" userId="f87af694dad07f1b" providerId="LiveId" clId="{3243DF7A-D6FA-4FF5-AE38-4125BB9ADDC4}" dt="2020-04-06T20:33:08.865" v="651" actId="1037"/>
          <ac:spMkLst>
            <pc:docMk/>
            <pc:sldMk cId="705546220" sldId="264"/>
            <ac:spMk id="3" creationId="{6B359365-C1BE-438D-A53B-E3F472FE313D}"/>
          </ac:spMkLst>
        </pc:spChg>
        <pc:spChg chg="add mod">
          <ac:chgData name="Adam Muffitt" userId="f87af694dad07f1b" providerId="LiveId" clId="{3243DF7A-D6FA-4FF5-AE38-4125BB9ADDC4}" dt="2020-04-06T20:33:03.249" v="612" actId="1038"/>
          <ac:spMkLst>
            <pc:docMk/>
            <pc:sldMk cId="705546220" sldId="264"/>
            <ac:spMk id="10" creationId="{2BAB849C-4890-4DCD-89AF-ABDCFBF7B8ED}"/>
          </ac:spMkLst>
        </pc:spChg>
        <pc:picChg chg="add mod">
          <ac:chgData name="Adam Muffitt" userId="f87af694dad07f1b" providerId="LiveId" clId="{3243DF7A-D6FA-4FF5-AE38-4125BB9ADDC4}" dt="2020-04-06T20:33:14.577" v="655" actId="1036"/>
          <ac:picMkLst>
            <pc:docMk/>
            <pc:sldMk cId="705546220" sldId="264"/>
            <ac:picMk id="2" creationId="{C35B6AC9-1B78-4FD1-B209-416C2DCF9D9C}"/>
          </ac:picMkLst>
        </pc:picChg>
        <pc:picChg chg="add mod">
          <ac:chgData name="Adam Muffitt" userId="f87af694dad07f1b" providerId="LiveId" clId="{3243DF7A-D6FA-4FF5-AE38-4125BB9ADDC4}" dt="2020-04-06T20:32:20.622" v="361" actId="14100"/>
          <ac:picMkLst>
            <pc:docMk/>
            <pc:sldMk cId="705546220" sldId="264"/>
            <ac:picMk id="5" creationId="{61DC4C78-714D-406B-A5FC-5E2F10F142B1}"/>
          </ac:picMkLst>
        </pc:picChg>
        <pc:picChg chg="del mod">
          <ac:chgData name="Adam Muffitt" userId="f87af694dad07f1b" providerId="LiveId" clId="{3243DF7A-D6FA-4FF5-AE38-4125BB9ADDC4}" dt="2020-04-06T20:27:33.326" v="332" actId="478"/>
          <ac:picMkLst>
            <pc:docMk/>
            <pc:sldMk cId="705546220" sldId="264"/>
            <ac:picMk id="9" creationId="{01358EF3-1DC1-477B-AC7A-207CD46C3734}"/>
          </ac:picMkLst>
        </pc:picChg>
        <pc:picChg chg="del">
          <ac:chgData name="Adam Muffitt" userId="f87af694dad07f1b" providerId="LiveId" clId="{3243DF7A-D6FA-4FF5-AE38-4125BB9ADDC4}" dt="2020-04-06T20:04:38.030" v="81" actId="478"/>
          <ac:picMkLst>
            <pc:docMk/>
            <pc:sldMk cId="705546220" sldId="264"/>
            <ac:picMk id="12" creationId="{7543F6C7-FAE2-4A8B-99A9-3D26007BDBC5}"/>
          </ac:picMkLst>
        </pc:picChg>
      </pc:sldChg>
      <pc:sldChg chg="modSp">
        <pc:chgData name="Adam Muffitt" userId="f87af694dad07f1b" providerId="LiveId" clId="{3243DF7A-D6FA-4FF5-AE38-4125BB9ADDC4}" dt="2020-04-06T20:36:40.787" v="999" actId="20577"/>
        <pc:sldMkLst>
          <pc:docMk/>
          <pc:sldMk cId="1674657168" sldId="266"/>
        </pc:sldMkLst>
        <pc:spChg chg="mod">
          <ac:chgData name="Adam Muffitt" userId="f87af694dad07f1b" providerId="LiveId" clId="{3243DF7A-D6FA-4FF5-AE38-4125BB9ADDC4}" dt="2020-04-06T20:36:40.787" v="999" actId="20577"/>
          <ac:spMkLst>
            <pc:docMk/>
            <pc:sldMk cId="1674657168" sldId="266"/>
            <ac:spMk id="15" creationId="{50340269-CCC7-4AAF-8F7D-7A557B8DDCBD}"/>
          </ac:spMkLst>
        </pc:spChg>
        <pc:picChg chg="mod">
          <ac:chgData name="Adam Muffitt" userId="f87af694dad07f1b" providerId="LiveId" clId="{3243DF7A-D6FA-4FF5-AE38-4125BB9ADDC4}" dt="2020-04-06T20:33:52.896" v="656" actId="1076"/>
          <ac:picMkLst>
            <pc:docMk/>
            <pc:sldMk cId="1674657168" sldId="266"/>
            <ac:picMk id="2" creationId="{F275EE43-D19A-47DC-B228-C082EF4D9F73}"/>
          </ac:picMkLst>
        </pc:picChg>
      </pc:sldChg>
      <pc:sldChg chg="modSp">
        <pc:chgData name="Adam Muffitt" userId="f87af694dad07f1b" providerId="LiveId" clId="{3243DF7A-D6FA-4FF5-AE38-4125BB9ADDC4}" dt="2020-04-06T20:35:21.017" v="927" actId="1035"/>
        <pc:sldMkLst>
          <pc:docMk/>
          <pc:sldMk cId="3880383685" sldId="269"/>
        </pc:sldMkLst>
        <pc:spChg chg="mod">
          <ac:chgData name="Adam Muffitt" userId="f87af694dad07f1b" providerId="LiveId" clId="{3243DF7A-D6FA-4FF5-AE38-4125BB9ADDC4}" dt="2020-04-06T20:35:05.747" v="887" actId="1037"/>
          <ac:spMkLst>
            <pc:docMk/>
            <pc:sldMk cId="3880383685" sldId="269"/>
            <ac:spMk id="26" creationId="{2883D11B-1A80-423C-A365-C1D151D250A2}"/>
          </ac:spMkLst>
        </pc:spChg>
        <pc:picChg chg="mod">
          <ac:chgData name="Adam Muffitt" userId="f87af694dad07f1b" providerId="LiveId" clId="{3243DF7A-D6FA-4FF5-AE38-4125BB9ADDC4}" dt="2020-04-06T20:35:21.017" v="927" actId="1035"/>
          <ac:picMkLst>
            <pc:docMk/>
            <pc:sldMk cId="3880383685" sldId="269"/>
            <ac:picMk id="2" creationId="{4036832E-7740-41EA-B725-777D59824E8F}"/>
          </ac:picMkLst>
        </pc:picChg>
        <pc:picChg chg="mod">
          <ac:chgData name="Adam Muffitt" userId="f87af694dad07f1b" providerId="LiveId" clId="{3243DF7A-D6FA-4FF5-AE38-4125BB9ADDC4}" dt="2020-04-06T20:35:15.885" v="911" actId="1037"/>
          <ac:picMkLst>
            <pc:docMk/>
            <pc:sldMk cId="3880383685" sldId="269"/>
            <ac:picMk id="3" creationId="{061A3428-C3A7-4B1A-8A1C-B847AA9DD983}"/>
          </ac:picMkLst>
        </pc:picChg>
      </pc:sldChg>
      <pc:sldChg chg="delSp modSp">
        <pc:chgData name="Adam Muffitt" userId="f87af694dad07f1b" providerId="LiveId" clId="{3243DF7A-D6FA-4FF5-AE38-4125BB9ADDC4}" dt="2020-04-06T20:04:53.518" v="84" actId="21"/>
        <pc:sldMkLst>
          <pc:docMk/>
          <pc:sldMk cId="2863545523" sldId="272"/>
        </pc:sldMkLst>
        <pc:picChg chg="del">
          <ac:chgData name="Adam Muffitt" userId="f87af694dad07f1b" providerId="LiveId" clId="{3243DF7A-D6FA-4FF5-AE38-4125BB9ADDC4}" dt="2020-04-06T20:04:53.518" v="84" actId="21"/>
          <ac:picMkLst>
            <pc:docMk/>
            <pc:sldMk cId="2863545523" sldId="272"/>
            <ac:picMk id="7" creationId="{5B1EFB45-CF93-4C4B-8B1A-628BD916B086}"/>
          </ac:picMkLst>
        </pc:picChg>
        <pc:picChg chg="mod">
          <ac:chgData name="Adam Muffitt" userId="f87af694dad07f1b" providerId="LiveId" clId="{3243DF7A-D6FA-4FF5-AE38-4125BB9ADDC4}" dt="2020-04-06T20:04:50.795" v="83" actId="1076"/>
          <ac:picMkLst>
            <pc:docMk/>
            <pc:sldMk cId="2863545523" sldId="272"/>
            <ac:picMk id="9" creationId="{9B4DA92B-BC89-4B91-897F-A1F388BE634A}"/>
          </ac:picMkLst>
        </pc:picChg>
        <pc:picChg chg="mod">
          <ac:chgData name="Adam Muffitt" userId="f87af694dad07f1b" providerId="LiveId" clId="{3243DF7A-D6FA-4FF5-AE38-4125BB9ADDC4}" dt="2020-04-06T20:04:48.596" v="82" actId="1076"/>
          <ac:picMkLst>
            <pc:docMk/>
            <pc:sldMk cId="2863545523" sldId="272"/>
            <ac:picMk id="10" creationId="{0CBB57C8-E83F-4667-853C-56F7C1A93032}"/>
          </ac:picMkLst>
        </pc:picChg>
      </pc:sldChg>
      <pc:sldChg chg="addSp delSp modSp add">
        <pc:chgData name="Adam Muffitt" userId="f87af694dad07f1b" providerId="LiveId" clId="{3243DF7A-D6FA-4FF5-AE38-4125BB9ADDC4}" dt="2020-04-06T20:03:44.017" v="80" actId="1076"/>
        <pc:sldMkLst>
          <pc:docMk/>
          <pc:sldMk cId="3953245949" sldId="273"/>
        </pc:sldMkLst>
        <pc:picChg chg="del">
          <ac:chgData name="Adam Muffitt" userId="f87af694dad07f1b" providerId="LiveId" clId="{3243DF7A-D6FA-4FF5-AE38-4125BB9ADDC4}" dt="2020-04-06T19:59:55.507" v="4" actId="478"/>
          <ac:picMkLst>
            <pc:docMk/>
            <pc:sldMk cId="3953245949" sldId="273"/>
            <ac:picMk id="6" creationId="{7C6308BE-6588-4AB4-827A-DC7FC9B57E57}"/>
          </ac:picMkLst>
        </pc:picChg>
        <pc:picChg chg="del">
          <ac:chgData name="Adam Muffitt" userId="f87af694dad07f1b" providerId="LiveId" clId="{3243DF7A-D6FA-4FF5-AE38-4125BB9ADDC4}" dt="2020-04-06T19:59:53.911" v="3" actId="478"/>
          <ac:picMkLst>
            <pc:docMk/>
            <pc:sldMk cId="3953245949" sldId="273"/>
            <ac:picMk id="7" creationId="{5B1EFB45-CF93-4C4B-8B1A-628BD916B086}"/>
          </ac:picMkLst>
        </pc:picChg>
        <pc:picChg chg="add mod">
          <ac:chgData name="Adam Muffitt" userId="f87af694dad07f1b" providerId="LiveId" clId="{3243DF7A-D6FA-4FF5-AE38-4125BB9ADDC4}" dt="2020-04-06T20:03:44.017" v="80" actId="1076"/>
          <ac:picMkLst>
            <pc:docMk/>
            <pc:sldMk cId="3953245949" sldId="273"/>
            <ac:picMk id="8" creationId="{83D8614C-2D00-4496-BF06-D9515E49BB3B}"/>
          </ac:picMkLst>
        </pc:picChg>
        <pc:picChg chg="mod">
          <ac:chgData name="Adam Muffitt" userId="f87af694dad07f1b" providerId="LiveId" clId="{3243DF7A-D6FA-4FF5-AE38-4125BB9ADDC4}" dt="2020-04-06T20:03:40.658" v="79" actId="1076"/>
          <ac:picMkLst>
            <pc:docMk/>
            <pc:sldMk cId="3953245949" sldId="273"/>
            <ac:picMk id="9" creationId="{9B4DA92B-BC89-4B91-897F-A1F388BE634A}"/>
          </ac:picMkLst>
        </pc:picChg>
        <pc:picChg chg="del">
          <ac:chgData name="Adam Muffitt" userId="f87af694dad07f1b" providerId="LiveId" clId="{3243DF7A-D6FA-4FF5-AE38-4125BB9ADDC4}" dt="2020-04-06T19:59:33.977" v="1" actId="478"/>
          <ac:picMkLst>
            <pc:docMk/>
            <pc:sldMk cId="3953245949" sldId="273"/>
            <ac:picMk id="10" creationId="{0CBB57C8-E83F-4667-853C-56F7C1A93032}"/>
          </ac:picMkLst>
        </pc:picChg>
      </pc:sldChg>
    </pc:docChg>
  </pc:docChgLst>
  <pc:docChgLst>
    <pc:chgData name="Adam Muffitt" userId="f87af694dad07f1b" providerId="LiveId" clId="{41422C3B-6DC3-4D78-8682-E1A44FB2B264}"/>
    <pc:docChg chg="undo custSel addSld delSld modSld">
      <pc:chgData name="Adam Muffitt" userId="f87af694dad07f1b" providerId="LiveId" clId="{41422C3B-6DC3-4D78-8682-E1A44FB2B264}" dt="2020-04-06T16:31:34.609" v="3433" actId="20577"/>
      <pc:docMkLst>
        <pc:docMk/>
      </pc:docMkLst>
      <pc:sldChg chg="modSp">
        <pc:chgData name="Adam Muffitt" userId="f87af694dad07f1b" providerId="LiveId" clId="{41422C3B-6DC3-4D78-8682-E1A44FB2B264}" dt="2020-04-06T15:26:06.465" v="2582" actId="20577"/>
        <pc:sldMkLst>
          <pc:docMk/>
          <pc:sldMk cId="1795855356" sldId="256"/>
        </pc:sldMkLst>
        <pc:spChg chg="mod">
          <ac:chgData name="Adam Muffitt" userId="f87af694dad07f1b" providerId="LiveId" clId="{41422C3B-6DC3-4D78-8682-E1A44FB2B264}" dt="2020-04-06T15:26:06.465" v="2582" actId="20577"/>
          <ac:spMkLst>
            <pc:docMk/>
            <pc:sldMk cId="1795855356" sldId="256"/>
            <ac:spMk id="10" creationId="{B3C933EF-B2CE-4EE3-904E-1AA625F8C263}"/>
          </ac:spMkLst>
        </pc:spChg>
      </pc:sldChg>
      <pc:sldChg chg="modSp">
        <pc:chgData name="Adam Muffitt" userId="f87af694dad07f1b" providerId="LiveId" clId="{41422C3B-6DC3-4D78-8682-E1A44FB2B264}" dt="2020-04-06T15:28:24.739" v="3072" actId="20577"/>
        <pc:sldMkLst>
          <pc:docMk/>
          <pc:sldMk cId="0" sldId="260"/>
        </pc:sldMkLst>
        <pc:spChg chg="mod">
          <ac:chgData name="Adam Muffitt" userId="f87af694dad07f1b" providerId="LiveId" clId="{41422C3B-6DC3-4D78-8682-E1A44FB2B264}" dt="2020-04-06T15:28:24.739" v="3072" actId="20577"/>
          <ac:spMkLst>
            <pc:docMk/>
            <pc:sldMk cId="0" sldId="260"/>
            <ac:spMk id="182" creationId="{00000000-0000-0000-0000-000000000000}"/>
          </ac:spMkLst>
        </pc:spChg>
      </pc:sldChg>
      <pc:sldChg chg="modSp">
        <pc:chgData name="Adam Muffitt" userId="f87af694dad07f1b" providerId="LiveId" clId="{41422C3B-6DC3-4D78-8682-E1A44FB2B264}" dt="2020-04-06T15:25:28.056" v="2552" actId="20577"/>
        <pc:sldMkLst>
          <pc:docMk/>
          <pc:sldMk cId="2053780298" sldId="261"/>
        </pc:sldMkLst>
        <pc:spChg chg="mod">
          <ac:chgData name="Adam Muffitt" userId="f87af694dad07f1b" providerId="LiveId" clId="{41422C3B-6DC3-4D78-8682-E1A44FB2B264}" dt="2020-04-06T15:25:28.056" v="2552" actId="20577"/>
          <ac:spMkLst>
            <pc:docMk/>
            <pc:sldMk cId="2053780298" sldId="261"/>
            <ac:spMk id="182" creationId="{00000000-0000-0000-0000-000000000000}"/>
          </ac:spMkLst>
        </pc:spChg>
      </pc:sldChg>
      <pc:sldChg chg="modSp">
        <pc:chgData name="Adam Muffitt" userId="f87af694dad07f1b" providerId="LiveId" clId="{41422C3B-6DC3-4D78-8682-E1A44FB2B264}" dt="2020-04-06T15:28:46.405" v="3218" actId="20577"/>
        <pc:sldMkLst>
          <pc:docMk/>
          <pc:sldMk cId="256898935" sldId="262"/>
        </pc:sldMkLst>
        <pc:spChg chg="mod">
          <ac:chgData name="Adam Muffitt" userId="f87af694dad07f1b" providerId="LiveId" clId="{41422C3B-6DC3-4D78-8682-E1A44FB2B264}" dt="2020-04-06T15:28:46.405" v="3218" actId="20577"/>
          <ac:spMkLst>
            <pc:docMk/>
            <pc:sldMk cId="256898935" sldId="262"/>
            <ac:spMk id="182" creationId="{00000000-0000-0000-0000-000000000000}"/>
          </ac:spMkLst>
        </pc:spChg>
      </pc:sldChg>
      <pc:sldChg chg="modSp">
        <pc:chgData name="Adam Muffitt" userId="f87af694dad07f1b" providerId="LiveId" clId="{41422C3B-6DC3-4D78-8682-E1A44FB2B264}" dt="2020-04-06T15:27:37.865" v="2907" actId="20577"/>
        <pc:sldMkLst>
          <pc:docMk/>
          <pc:sldMk cId="705546220" sldId="264"/>
        </pc:sldMkLst>
        <pc:spChg chg="mod">
          <ac:chgData name="Adam Muffitt" userId="f87af694dad07f1b" providerId="LiveId" clId="{41422C3B-6DC3-4D78-8682-E1A44FB2B264}" dt="2020-04-06T15:27:37.865" v="2907" actId="20577"/>
          <ac:spMkLst>
            <pc:docMk/>
            <pc:sldMk cId="705546220" sldId="264"/>
            <ac:spMk id="182" creationId="{00000000-0000-0000-0000-000000000000}"/>
          </ac:spMkLst>
        </pc:spChg>
      </pc:sldChg>
      <pc:sldChg chg="modSp addCm delCm modCm">
        <pc:chgData name="Adam Muffitt" userId="f87af694dad07f1b" providerId="LiveId" clId="{41422C3B-6DC3-4D78-8682-E1A44FB2B264}" dt="2020-04-06T15:14:54.937" v="2229" actId="20577"/>
        <pc:sldMkLst>
          <pc:docMk/>
          <pc:sldMk cId="2781324357" sldId="265"/>
        </pc:sldMkLst>
        <pc:spChg chg="mod">
          <ac:chgData name="Adam Muffitt" userId="f87af694dad07f1b" providerId="LiveId" clId="{41422C3B-6DC3-4D78-8682-E1A44FB2B264}" dt="2020-04-06T15:04:55.098" v="1039" actId="20577"/>
          <ac:spMkLst>
            <pc:docMk/>
            <pc:sldMk cId="2781324357" sldId="265"/>
            <ac:spMk id="8" creationId="{C53BD61C-8336-4CFA-B958-0D38FAD398D0}"/>
          </ac:spMkLst>
        </pc:spChg>
        <pc:spChg chg="mod">
          <ac:chgData name="Adam Muffitt" userId="f87af694dad07f1b" providerId="LiveId" clId="{41422C3B-6DC3-4D78-8682-E1A44FB2B264}" dt="2020-04-06T15:14:54.937" v="2229" actId="20577"/>
          <ac:spMkLst>
            <pc:docMk/>
            <pc:sldMk cId="2781324357" sldId="265"/>
            <ac:spMk id="26" creationId="{B6A2C6C7-B0DF-4446-8947-FB9951821467}"/>
          </ac:spMkLst>
        </pc:spChg>
        <pc:spChg chg="mod">
          <ac:chgData name="Adam Muffitt" userId="f87af694dad07f1b" providerId="LiveId" clId="{41422C3B-6DC3-4D78-8682-E1A44FB2B264}" dt="2020-04-06T15:03:50.905" v="914" actId="1035"/>
          <ac:spMkLst>
            <pc:docMk/>
            <pc:sldMk cId="2781324357" sldId="265"/>
            <ac:spMk id="182" creationId="{00000000-0000-0000-0000-000000000000}"/>
          </ac:spMkLst>
        </pc:spChg>
      </pc:sldChg>
      <pc:sldChg chg="modSp">
        <pc:chgData name="Adam Muffitt" userId="f87af694dad07f1b" providerId="LiveId" clId="{41422C3B-6DC3-4D78-8682-E1A44FB2B264}" dt="2020-04-06T15:27:13.144" v="2770" actId="20577"/>
        <pc:sldMkLst>
          <pc:docMk/>
          <pc:sldMk cId="1674657168" sldId="266"/>
        </pc:sldMkLst>
        <pc:spChg chg="mod">
          <ac:chgData name="Adam Muffitt" userId="f87af694dad07f1b" providerId="LiveId" clId="{41422C3B-6DC3-4D78-8682-E1A44FB2B264}" dt="2020-04-06T15:27:13.144" v="2770" actId="20577"/>
          <ac:spMkLst>
            <pc:docMk/>
            <pc:sldMk cId="1674657168" sldId="266"/>
            <ac:spMk id="182" creationId="{00000000-0000-0000-0000-000000000000}"/>
          </ac:spMkLst>
        </pc:spChg>
      </pc:sldChg>
      <pc:sldChg chg="del">
        <pc:chgData name="Adam Muffitt" userId="f87af694dad07f1b" providerId="LiveId" clId="{41422C3B-6DC3-4D78-8682-E1A44FB2B264}" dt="2020-04-06T15:27:59.355" v="2908" actId="47"/>
        <pc:sldMkLst>
          <pc:docMk/>
          <pc:sldMk cId="1591983399" sldId="267"/>
        </pc:sldMkLst>
      </pc:sldChg>
      <pc:sldChg chg="addSp delSp modSp">
        <pc:chgData name="Adam Muffitt" userId="f87af694dad07f1b" providerId="LiveId" clId="{41422C3B-6DC3-4D78-8682-E1A44FB2B264}" dt="2020-04-06T16:18:47.917" v="3334" actId="1076"/>
        <pc:sldMkLst>
          <pc:docMk/>
          <pc:sldMk cId="0" sldId="268"/>
        </pc:sldMkLst>
        <pc:spChg chg="mod">
          <ac:chgData name="Adam Muffitt" userId="f87af694dad07f1b" providerId="LiveId" clId="{41422C3B-6DC3-4D78-8682-E1A44FB2B264}" dt="2020-04-06T16:18:37.908" v="3333" actId="1076"/>
          <ac:spMkLst>
            <pc:docMk/>
            <pc:sldMk cId="0" sldId="268"/>
            <ac:spMk id="41" creationId="{00000000-0000-0000-0000-000000000000}"/>
          </ac:spMkLst>
        </pc:spChg>
        <pc:spChg chg="mod">
          <ac:chgData name="Adam Muffitt" userId="f87af694dad07f1b" providerId="LiveId" clId="{41422C3B-6DC3-4D78-8682-E1A44FB2B264}" dt="2020-04-06T16:18:47.917" v="3334" actId="1076"/>
          <ac:spMkLst>
            <pc:docMk/>
            <pc:sldMk cId="0" sldId="268"/>
            <ac:spMk id="43" creationId="{00000000-0000-0000-0000-000000000000}"/>
          </ac:spMkLst>
        </pc:spChg>
        <pc:picChg chg="del">
          <ac:chgData name="Adam Muffitt" userId="f87af694dad07f1b" providerId="LiveId" clId="{41422C3B-6DC3-4D78-8682-E1A44FB2B264}" dt="2020-04-06T14:42:10.670" v="167" actId="478"/>
          <ac:picMkLst>
            <pc:docMk/>
            <pc:sldMk cId="0" sldId="268"/>
            <ac:picMk id="4" creationId="{4E55E35A-8EF2-4100-A87C-31C112D3508C}"/>
          </ac:picMkLst>
        </pc:picChg>
        <pc:picChg chg="del">
          <ac:chgData name="Adam Muffitt" userId="f87af694dad07f1b" providerId="LiveId" clId="{41422C3B-6DC3-4D78-8682-E1A44FB2B264}" dt="2020-04-06T14:42:07.916" v="166" actId="478"/>
          <ac:picMkLst>
            <pc:docMk/>
            <pc:sldMk cId="0" sldId="268"/>
            <ac:picMk id="5" creationId="{21C7E244-513A-4669-B50C-496409C07A53}"/>
          </ac:picMkLst>
        </pc:picChg>
        <pc:picChg chg="add mod">
          <ac:chgData name="Adam Muffitt" userId="f87af694dad07f1b" providerId="LiveId" clId="{41422C3B-6DC3-4D78-8682-E1A44FB2B264}" dt="2020-04-06T16:18:19.831" v="3332" actId="1036"/>
          <ac:picMkLst>
            <pc:docMk/>
            <pc:sldMk cId="0" sldId="268"/>
            <ac:picMk id="7" creationId="{832D7DAA-9E3D-482B-A7D8-3303CD6853E2}"/>
          </ac:picMkLst>
        </pc:picChg>
      </pc:sldChg>
      <pc:sldChg chg="modSp add">
        <pc:chgData name="Adam Muffitt" userId="f87af694dad07f1b" providerId="LiveId" clId="{41422C3B-6DC3-4D78-8682-E1A44FB2B264}" dt="2020-04-06T15:29:14.953" v="3240" actId="20577"/>
        <pc:sldMkLst>
          <pc:docMk/>
          <pc:sldMk cId="3880383685" sldId="269"/>
        </pc:sldMkLst>
        <pc:spChg chg="mod">
          <ac:chgData name="Adam Muffitt" userId="f87af694dad07f1b" providerId="LiveId" clId="{41422C3B-6DC3-4D78-8682-E1A44FB2B264}" dt="2020-04-06T15:29:14.953" v="3240" actId="20577"/>
          <ac:spMkLst>
            <pc:docMk/>
            <pc:sldMk cId="3880383685" sldId="269"/>
            <ac:spMk id="182" creationId="{00000000-0000-0000-0000-000000000000}"/>
          </ac:spMkLst>
        </pc:spChg>
      </pc:sldChg>
      <pc:sldChg chg="modSp add">
        <pc:chgData name="Adam Muffitt" userId="f87af694dad07f1b" providerId="LiveId" clId="{41422C3B-6DC3-4D78-8682-E1A44FB2B264}" dt="2020-04-06T16:31:34.609" v="3433" actId="20577"/>
        <pc:sldMkLst>
          <pc:docMk/>
          <pc:sldMk cId="2772573308" sldId="270"/>
        </pc:sldMkLst>
        <pc:spChg chg="mod">
          <ac:chgData name="Adam Muffitt" userId="f87af694dad07f1b" providerId="LiveId" clId="{41422C3B-6DC3-4D78-8682-E1A44FB2B264}" dt="2020-04-06T16:31:34.609" v="3433" actId="20577"/>
          <ac:spMkLst>
            <pc:docMk/>
            <pc:sldMk cId="2772573308" sldId="270"/>
            <ac:spMk id="182" creationId="{00000000-0000-0000-0000-000000000000}"/>
          </ac:spMkLst>
        </pc:spChg>
      </pc:sldChg>
      <pc:sldChg chg="add">
        <pc:chgData name="Adam Muffitt" userId="f87af694dad07f1b" providerId="LiveId" clId="{41422C3B-6DC3-4D78-8682-E1A44FB2B264}" dt="2020-04-06T16:21:44.568" v="3335"/>
        <pc:sldMkLst>
          <pc:docMk/>
          <pc:sldMk cId="3606184921" sldId="271"/>
        </pc:sldMkLst>
      </pc:sldChg>
      <pc:sldMasterChg chg="delSldLayout">
        <pc:chgData name="Adam Muffitt" userId="f87af694dad07f1b" providerId="LiveId" clId="{41422C3B-6DC3-4D78-8682-E1A44FB2B264}" dt="2020-04-06T15:27:59.355" v="2908" actId="47"/>
        <pc:sldMasterMkLst>
          <pc:docMk/>
          <pc:sldMasterMk cId="294880314" sldId="2147483660"/>
        </pc:sldMasterMkLst>
        <pc:sldLayoutChg chg="del">
          <pc:chgData name="Adam Muffitt" userId="f87af694dad07f1b" providerId="LiveId" clId="{41422C3B-6DC3-4D78-8682-E1A44FB2B264}" dt="2020-04-06T15:27:59.355" v="2908" actId="47"/>
          <pc:sldLayoutMkLst>
            <pc:docMk/>
            <pc:sldMasterMk cId="294880314" sldId="2147483660"/>
            <pc:sldLayoutMk cId="2617488463" sldId="2147483663"/>
          </pc:sldLayoutMkLst>
        </pc:sldLayoutChg>
      </pc:sldMasterChg>
    </pc:docChg>
  </pc:docChgLst>
  <pc:docChgLst>
    <pc:chgData name="Sharon Shandukani" userId="b3f2d01030c4b3d8" providerId="Windows Live" clId="Web-{EA651DB0-1CE9-42EF-9CE0-582D1077813D}"/>
    <pc:docChg chg="">
      <pc:chgData name="Sharon Shandukani" userId="b3f2d01030c4b3d8" providerId="Windows Live" clId="Web-{EA651DB0-1CE9-42EF-9CE0-582D1077813D}" dt="2020-04-08T19:57:52.239" v="0"/>
      <pc:docMkLst>
        <pc:docMk/>
      </pc:docMkLst>
      <pc:sldChg chg="addCm">
        <pc:chgData name="Sharon Shandukani" userId="b3f2d01030c4b3d8" providerId="Windows Live" clId="Web-{EA651DB0-1CE9-42EF-9CE0-582D1077813D}" dt="2020-04-08T19:57:52.239" v="0"/>
        <pc:sldMkLst>
          <pc:docMk/>
          <pc:sldMk cId="0" sldId="268"/>
        </pc:sldMkLst>
      </pc:sldChg>
    </pc:docChg>
  </pc:docChgLst>
  <pc:docChgLst>
    <pc:chgData name="Adam Muffitt" userId="f87af694dad07f1b" providerId="LiveId" clId="{53D70CAF-C3D1-4333-B799-C2882D553C74}"/>
    <pc:docChg chg="undo custSel addSld delSld modSld sldOrd">
      <pc:chgData name="Adam Muffitt" userId="f87af694dad07f1b" providerId="LiveId" clId="{53D70CAF-C3D1-4333-B799-C2882D553C74}" dt="2020-04-08T20:18:27.075" v="15606"/>
      <pc:docMkLst>
        <pc:docMk/>
      </pc:docMkLst>
      <pc:sldChg chg="addSp delSp modSp mod ord addCm delCm modCm">
        <pc:chgData name="Adam Muffitt" userId="f87af694dad07f1b" providerId="LiveId" clId="{53D70CAF-C3D1-4333-B799-C2882D553C74}" dt="2020-04-07T03:40:38.545" v="15256" actId="20577"/>
        <pc:sldMkLst>
          <pc:docMk/>
          <pc:sldMk cId="1795855356" sldId="256"/>
        </pc:sldMkLst>
        <pc:spChg chg="mod">
          <ac:chgData name="Adam Muffitt" userId="f87af694dad07f1b" providerId="LiveId" clId="{53D70CAF-C3D1-4333-B799-C2882D553C74}" dt="2020-04-07T00:18:46.532" v="7562" actId="1036"/>
          <ac:spMkLst>
            <pc:docMk/>
            <pc:sldMk cId="1795855356" sldId="256"/>
            <ac:spMk id="2" creationId="{525B571C-D9A7-4777-8380-275AE8280C5A}"/>
          </ac:spMkLst>
        </pc:spChg>
        <pc:spChg chg="add del mod">
          <ac:chgData name="Adam Muffitt" userId="f87af694dad07f1b" providerId="LiveId" clId="{53D70CAF-C3D1-4333-B799-C2882D553C74}" dt="2020-04-07T00:17:30.501" v="7541"/>
          <ac:spMkLst>
            <pc:docMk/>
            <pc:sldMk cId="1795855356" sldId="256"/>
            <ac:spMk id="3" creationId="{1037DF5D-E5C2-4D6A-BB62-22A75EA5F049}"/>
          </ac:spMkLst>
        </pc:spChg>
        <pc:spChg chg="add mod">
          <ac:chgData name="Adam Muffitt" userId="f87af694dad07f1b" providerId="LiveId" clId="{53D70CAF-C3D1-4333-B799-C2882D553C74}" dt="2020-04-07T00:18:37.248" v="7557" actId="1076"/>
          <ac:spMkLst>
            <pc:docMk/>
            <pc:sldMk cId="1795855356" sldId="256"/>
            <ac:spMk id="4" creationId="{004D0C66-CD4A-4560-A1B1-92DCC0C6A75C}"/>
          </ac:spMkLst>
        </pc:spChg>
        <pc:spChg chg="del mod">
          <ac:chgData name="Adam Muffitt" userId="f87af694dad07f1b" providerId="LiveId" clId="{53D70CAF-C3D1-4333-B799-C2882D553C74}" dt="2020-04-07T00:13:43.203" v="7252" actId="478"/>
          <ac:spMkLst>
            <pc:docMk/>
            <pc:sldMk cId="1795855356" sldId="256"/>
            <ac:spMk id="6" creationId="{BE848EFB-6AB5-4815-96A3-7FC13F8F2100}"/>
          </ac:spMkLst>
        </pc:spChg>
        <pc:spChg chg="mod">
          <ac:chgData name="Adam Muffitt" userId="f87af694dad07f1b" providerId="LiveId" clId="{53D70CAF-C3D1-4333-B799-C2882D553C74}" dt="2020-04-07T03:40:38.545" v="15256" actId="20577"/>
          <ac:spMkLst>
            <pc:docMk/>
            <pc:sldMk cId="1795855356" sldId="256"/>
            <ac:spMk id="8" creationId="{02EF3836-8F56-408D-BEC0-C2BD95EDBA92}"/>
          </ac:spMkLst>
        </pc:spChg>
        <pc:spChg chg="del mod">
          <ac:chgData name="Adam Muffitt" userId="f87af694dad07f1b" providerId="LiveId" clId="{53D70CAF-C3D1-4333-B799-C2882D553C74}" dt="2020-04-07T00:01:04.768" v="7154" actId="478"/>
          <ac:spMkLst>
            <pc:docMk/>
            <pc:sldMk cId="1795855356" sldId="256"/>
            <ac:spMk id="9" creationId="{4551BD85-0029-4E7F-A977-0EDE43B7EA8A}"/>
          </ac:spMkLst>
        </pc:spChg>
        <pc:spChg chg="del mod">
          <ac:chgData name="Adam Muffitt" userId="f87af694dad07f1b" providerId="LiveId" clId="{53D70CAF-C3D1-4333-B799-C2882D553C74}" dt="2020-04-06T23:58:15.164" v="6871" actId="478"/>
          <ac:spMkLst>
            <pc:docMk/>
            <pc:sldMk cId="1795855356" sldId="256"/>
            <ac:spMk id="10" creationId="{B3C933EF-B2CE-4EE3-904E-1AA625F8C263}"/>
          </ac:spMkLst>
        </pc:spChg>
        <pc:spChg chg="add mod">
          <ac:chgData name="Adam Muffitt" userId="f87af694dad07f1b" providerId="LiveId" clId="{53D70CAF-C3D1-4333-B799-C2882D553C74}" dt="2020-04-07T00:16:47.344" v="7514" actId="20577"/>
          <ac:spMkLst>
            <pc:docMk/>
            <pc:sldMk cId="1795855356" sldId="256"/>
            <ac:spMk id="11" creationId="{48940593-E6CC-4F4F-884E-42D3BB4EF247}"/>
          </ac:spMkLst>
        </pc:spChg>
        <pc:spChg chg="del mod">
          <ac:chgData name="Adam Muffitt" userId="f87af694dad07f1b" providerId="LiveId" clId="{53D70CAF-C3D1-4333-B799-C2882D553C74}" dt="2020-04-07T00:20:02.667" v="7709" actId="478"/>
          <ac:spMkLst>
            <pc:docMk/>
            <pc:sldMk cId="1795855356" sldId="256"/>
            <ac:spMk id="12" creationId="{CFB4C205-005F-4DFD-9D08-CAA464FB5FD1}"/>
          </ac:spMkLst>
        </pc:spChg>
        <pc:spChg chg="add mod">
          <ac:chgData name="Adam Muffitt" userId="f87af694dad07f1b" providerId="LiveId" clId="{53D70CAF-C3D1-4333-B799-C2882D553C74}" dt="2020-04-07T00:18:46.532" v="7562" actId="1036"/>
          <ac:spMkLst>
            <pc:docMk/>
            <pc:sldMk cId="1795855356" sldId="256"/>
            <ac:spMk id="13" creationId="{A590FA63-B674-435F-A74E-1AFB2505DE36}"/>
          </ac:spMkLst>
        </pc:spChg>
        <pc:spChg chg="add mod">
          <ac:chgData name="Adam Muffitt" userId="f87af694dad07f1b" providerId="LiveId" clId="{53D70CAF-C3D1-4333-B799-C2882D553C74}" dt="2020-04-07T00:13:49.586" v="7254" actId="1076"/>
          <ac:spMkLst>
            <pc:docMk/>
            <pc:sldMk cId="1795855356" sldId="256"/>
            <ac:spMk id="14" creationId="{D389DFAA-9E11-4B37-B5B2-87A23F5A13EF}"/>
          </ac:spMkLst>
        </pc:spChg>
        <pc:picChg chg="del">
          <ac:chgData name="Adam Muffitt" userId="f87af694dad07f1b" providerId="LiveId" clId="{53D70CAF-C3D1-4333-B799-C2882D553C74}" dt="2020-04-06T17:21:52.954" v="114" actId="478"/>
          <ac:picMkLst>
            <pc:docMk/>
            <pc:sldMk cId="1795855356" sldId="256"/>
            <ac:picMk id="4" creationId="{11F79B95-D9A3-41D8-A5EE-42C46E78FB10}"/>
          </ac:picMkLst>
        </pc:picChg>
        <pc:picChg chg="add mod">
          <ac:chgData name="Adam Muffitt" userId="f87af694dad07f1b" providerId="LiveId" clId="{53D70CAF-C3D1-4333-B799-C2882D553C74}" dt="2020-04-07T00:18:46.532" v="7562" actId="1036"/>
          <ac:picMkLst>
            <pc:docMk/>
            <pc:sldMk cId="1795855356" sldId="256"/>
            <ac:picMk id="5" creationId="{65F87E32-7FF8-4531-AAD5-BACC8667FF34}"/>
          </ac:picMkLst>
        </pc:picChg>
        <pc:picChg chg="del">
          <ac:chgData name="Adam Muffitt" userId="f87af694dad07f1b" providerId="LiveId" clId="{53D70CAF-C3D1-4333-B799-C2882D553C74}" dt="2020-04-06T17:21:53.922" v="115" actId="478"/>
          <ac:picMkLst>
            <pc:docMk/>
            <pc:sldMk cId="1795855356" sldId="256"/>
            <ac:picMk id="11" creationId="{F946CEAC-5BEE-4FD3-AE27-F8C46745A915}"/>
          </ac:picMkLst>
        </pc:picChg>
        <pc:picChg chg="add del mod">
          <ac:chgData name="Adam Muffitt" userId="f87af694dad07f1b" providerId="LiveId" clId="{53D70CAF-C3D1-4333-B799-C2882D553C74}" dt="2020-04-06T19:12:42.084" v="364" actId="478"/>
          <ac:picMkLst>
            <pc:docMk/>
            <pc:sldMk cId="1795855356" sldId="256"/>
            <ac:picMk id="13" creationId="{81F7B545-83D8-42BA-9512-F9FEEC1B1A43}"/>
          </ac:picMkLst>
        </pc:picChg>
        <pc:picChg chg="add mod">
          <ac:chgData name="Adam Muffitt" userId="f87af694dad07f1b" providerId="LiveId" clId="{53D70CAF-C3D1-4333-B799-C2882D553C74}" dt="2020-04-07T00:23:13.847" v="8218" actId="14100"/>
          <ac:picMkLst>
            <pc:docMk/>
            <pc:sldMk cId="1795855356" sldId="256"/>
            <ac:picMk id="15" creationId="{21A51A1C-B059-48D2-8C4A-777C5F98F68E}"/>
          </ac:picMkLst>
        </pc:picChg>
      </pc:sldChg>
      <pc:sldChg chg="del">
        <pc:chgData name="Adam Muffitt" userId="f87af694dad07f1b" providerId="LiveId" clId="{53D70CAF-C3D1-4333-B799-C2882D553C74}" dt="2020-04-06T21:36:00.352" v="462" actId="47"/>
        <pc:sldMkLst>
          <pc:docMk/>
          <pc:sldMk cId="0" sldId="260"/>
        </pc:sldMkLst>
      </pc:sldChg>
      <pc:sldChg chg="addSp delSp modSp mod">
        <pc:chgData name="Adam Muffitt" userId="f87af694dad07f1b" providerId="LiveId" clId="{53D70CAF-C3D1-4333-B799-C2882D553C74}" dt="2020-04-07T03:39:20.228" v="15231" actId="20577"/>
        <pc:sldMkLst>
          <pc:docMk/>
          <pc:sldMk cId="2053780298" sldId="261"/>
        </pc:sldMkLst>
        <pc:spChg chg="del mod">
          <ac:chgData name="Adam Muffitt" userId="f87af694dad07f1b" providerId="LiveId" clId="{53D70CAF-C3D1-4333-B799-C2882D553C74}" dt="2020-04-06T23:40:32.525" v="5115" actId="478"/>
          <ac:spMkLst>
            <pc:docMk/>
            <pc:sldMk cId="2053780298" sldId="261"/>
            <ac:spMk id="3" creationId="{80E2FEAD-6B5F-434E-A1D7-F378B492BE1B}"/>
          </ac:spMkLst>
        </pc:spChg>
        <pc:spChg chg="del mod">
          <ac:chgData name="Adam Muffitt" userId="f87af694dad07f1b" providerId="LiveId" clId="{53D70CAF-C3D1-4333-B799-C2882D553C74}" dt="2020-04-06T23:40:35.989" v="5116" actId="478"/>
          <ac:spMkLst>
            <pc:docMk/>
            <pc:sldMk cId="2053780298" sldId="261"/>
            <ac:spMk id="4" creationId="{E2816C99-5E4F-4B2A-B5FC-EA3FE48BF2A8}"/>
          </ac:spMkLst>
        </pc:spChg>
        <pc:spChg chg="add del mod">
          <ac:chgData name="Adam Muffitt" userId="f87af694dad07f1b" providerId="LiveId" clId="{53D70CAF-C3D1-4333-B799-C2882D553C74}" dt="2020-04-06T23:36:50.981" v="4723" actId="478"/>
          <ac:spMkLst>
            <pc:docMk/>
            <pc:sldMk cId="2053780298" sldId="261"/>
            <ac:spMk id="5" creationId="{320A1C84-804A-40CB-A74D-68A3F2C072DA}"/>
          </ac:spMkLst>
        </pc:spChg>
        <pc:spChg chg="add mod">
          <ac:chgData name="Adam Muffitt" userId="f87af694dad07f1b" providerId="LiveId" clId="{53D70CAF-C3D1-4333-B799-C2882D553C74}" dt="2020-04-06T23:40:53.001" v="5120" actId="1076"/>
          <ac:spMkLst>
            <pc:docMk/>
            <pc:sldMk cId="2053780298" sldId="261"/>
            <ac:spMk id="8" creationId="{51F5554D-13B4-43C4-8030-CCB01F35EF40}"/>
          </ac:spMkLst>
        </pc:spChg>
        <pc:spChg chg="add mod">
          <ac:chgData name="Adam Muffitt" userId="f87af694dad07f1b" providerId="LiveId" clId="{53D70CAF-C3D1-4333-B799-C2882D553C74}" dt="2020-04-06T23:42:10.470" v="5426" actId="20577"/>
          <ac:spMkLst>
            <pc:docMk/>
            <pc:sldMk cId="2053780298" sldId="261"/>
            <ac:spMk id="11" creationId="{CAC7A6EB-67A1-4D8D-A6D2-0B23F9362D12}"/>
          </ac:spMkLst>
        </pc:spChg>
        <pc:spChg chg="add mod">
          <ac:chgData name="Adam Muffitt" userId="f87af694dad07f1b" providerId="LiveId" clId="{53D70CAF-C3D1-4333-B799-C2882D553C74}" dt="2020-04-07T03:39:20.228" v="15231" actId="20577"/>
          <ac:spMkLst>
            <pc:docMk/>
            <pc:sldMk cId="2053780298" sldId="261"/>
            <ac:spMk id="14" creationId="{E420ABDF-E0C5-4EFA-87CB-8B68DA95DD15}"/>
          </ac:spMkLst>
        </pc:spChg>
        <pc:spChg chg="del mod">
          <ac:chgData name="Adam Muffitt" userId="f87af694dad07f1b" providerId="LiveId" clId="{53D70CAF-C3D1-4333-B799-C2882D553C74}" dt="2020-04-06T23:37:30.798" v="4727" actId="478"/>
          <ac:spMkLst>
            <pc:docMk/>
            <pc:sldMk cId="2053780298" sldId="261"/>
            <ac:spMk id="21" creationId="{76343B63-179D-4242-8071-24DCD42FAEF7}"/>
          </ac:spMkLst>
        </pc:spChg>
        <pc:spChg chg="del">
          <ac:chgData name="Adam Muffitt" userId="f87af694dad07f1b" providerId="LiveId" clId="{53D70CAF-C3D1-4333-B799-C2882D553C74}" dt="2020-04-06T23:36:48.349" v="4722" actId="478"/>
          <ac:spMkLst>
            <pc:docMk/>
            <pc:sldMk cId="2053780298" sldId="261"/>
            <ac:spMk id="182" creationId="{00000000-0000-0000-0000-000000000000}"/>
          </ac:spMkLst>
        </pc:spChg>
        <pc:picChg chg="del">
          <ac:chgData name="Adam Muffitt" userId="f87af694dad07f1b" providerId="LiveId" clId="{53D70CAF-C3D1-4333-B799-C2882D553C74}" dt="2020-04-06T17:09:06.332" v="1" actId="478"/>
          <ac:picMkLst>
            <pc:docMk/>
            <pc:sldMk cId="2053780298" sldId="261"/>
            <ac:picMk id="2" creationId="{D4D1AB29-B4EC-42BD-88AD-8474773ACA7C}"/>
          </ac:picMkLst>
        </pc:picChg>
        <pc:picChg chg="del">
          <ac:chgData name="Adam Muffitt" userId="f87af694dad07f1b" providerId="LiveId" clId="{53D70CAF-C3D1-4333-B799-C2882D553C74}" dt="2020-04-06T17:09:06.332" v="1" actId="478"/>
          <ac:picMkLst>
            <pc:docMk/>
            <pc:sldMk cId="2053780298" sldId="261"/>
            <ac:picMk id="6" creationId="{C1B52906-1EAF-445B-83A7-D40E436CCB72}"/>
          </ac:picMkLst>
        </pc:picChg>
        <pc:picChg chg="del">
          <ac:chgData name="Adam Muffitt" userId="f87af694dad07f1b" providerId="LiveId" clId="{53D70CAF-C3D1-4333-B799-C2882D553C74}" dt="2020-04-06T17:08:58.614" v="0" actId="478"/>
          <ac:picMkLst>
            <pc:docMk/>
            <pc:sldMk cId="2053780298" sldId="261"/>
            <ac:picMk id="7" creationId="{0D915C29-EB6E-4353-BA66-9666A0D86304}"/>
          </ac:picMkLst>
        </pc:picChg>
        <pc:picChg chg="add del mod">
          <ac:chgData name="Adam Muffitt" userId="f87af694dad07f1b" providerId="LiveId" clId="{53D70CAF-C3D1-4333-B799-C2882D553C74}" dt="2020-04-06T17:15:25.240" v="36" actId="478"/>
          <ac:picMkLst>
            <pc:docMk/>
            <pc:sldMk cId="2053780298" sldId="261"/>
            <ac:picMk id="8" creationId="{581FF627-CB5B-4809-9BB7-34B2E5001150}"/>
          </ac:picMkLst>
        </pc:picChg>
        <pc:picChg chg="del">
          <ac:chgData name="Adam Muffitt" userId="f87af694dad07f1b" providerId="LiveId" clId="{53D70CAF-C3D1-4333-B799-C2882D553C74}" dt="2020-04-06T17:09:06.332" v="1" actId="478"/>
          <ac:picMkLst>
            <pc:docMk/>
            <pc:sldMk cId="2053780298" sldId="261"/>
            <ac:picMk id="9" creationId="{B4B3AC93-7B74-47AD-83BE-5CC3B140ABDA}"/>
          </ac:picMkLst>
        </pc:picChg>
        <pc:picChg chg="add del mod">
          <ac:chgData name="Adam Muffitt" userId="f87af694dad07f1b" providerId="LiveId" clId="{53D70CAF-C3D1-4333-B799-C2882D553C74}" dt="2020-04-06T17:15:48.187" v="44" actId="478"/>
          <ac:picMkLst>
            <pc:docMk/>
            <pc:sldMk cId="2053780298" sldId="261"/>
            <ac:picMk id="10" creationId="{AE97C995-834F-46DA-B7C6-E06B86644C03}"/>
          </ac:picMkLst>
        </pc:picChg>
        <pc:picChg chg="del">
          <ac:chgData name="Adam Muffitt" userId="f87af694dad07f1b" providerId="LiveId" clId="{53D70CAF-C3D1-4333-B799-C2882D553C74}" dt="2020-04-06T17:09:06.332" v="1" actId="478"/>
          <ac:picMkLst>
            <pc:docMk/>
            <pc:sldMk cId="2053780298" sldId="261"/>
            <ac:picMk id="11" creationId="{D60736BA-7100-4769-AD98-A7AF9038E7D7}"/>
          </ac:picMkLst>
        </pc:picChg>
        <pc:picChg chg="add mod">
          <ac:chgData name="Adam Muffitt" userId="f87af694dad07f1b" providerId="LiveId" clId="{53D70CAF-C3D1-4333-B799-C2882D553C74}" dt="2020-04-06T17:15:46.477" v="43" actId="208"/>
          <ac:picMkLst>
            <pc:docMk/>
            <pc:sldMk cId="2053780298" sldId="261"/>
            <ac:picMk id="12" creationId="{294861D9-7F71-4948-8E5D-4F85FEF005F7}"/>
          </ac:picMkLst>
        </pc:picChg>
        <pc:picChg chg="add mod">
          <ac:chgData name="Adam Muffitt" userId="f87af694dad07f1b" providerId="LiveId" clId="{53D70CAF-C3D1-4333-B799-C2882D553C74}" dt="2020-04-06T17:18:33.734" v="51" actId="208"/>
          <ac:picMkLst>
            <pc:docMk/>
            <pc:sldMk cId="2053780298" sldId="261"/>
            <ac:picMk id="13" creationId="{FCD96D0E-E950-46EE-AFB9-16F9FE2CFD2C}"/>
          </ac:picMkLst>
        </pc:picChg>
        <pc:picChg chg="del">
          <ac:chgData name="Adam Muffitt" userId="f87af694dad07f1b" providerId="LiveId" clId="{53D70CAF-C3D1-4333-B799-C2882D553C74}" dt="2020-04-06T17:09:06.332" v="1" actId="478"/>
          <ac:picMkLst>
            <pc:docMk/>
            <pc:sldMk cId="2053780298" sldId="261"/>
            <ac:picMk id="20" creationId="{07E60924-48B5-4B84-8579-3D29E3D5D4E6}"/>
          </ac:picMkLst>
        </pc:picChg>
        <pc:picChg chg="del">
          <ac:chgData name="Adam Muffitt" userId="f87af694dad07f1b" providerId="LiveId" clId="{53D70CAF-C3D1-4333-B799-C2882D553C74}" dt="2020-04-06T17:09:06.332" v="1" actId="478"/>
          <ac:picMkLst>
            <pc:docMk/>
            <pc:sldMk cId="2053780298" sldId="261"/>
            <ac:picMk id="22" creationId="{D73255FA-7409-468D-B9B1-29DB8CA40CE1}"/>
          </ac:picMkLst>
        </pc:picChg>
        <pc:picChg chg="del">
          <ac:chgData name="Adam Muffitt" userId="f87af694dad07f1b" providerId="LiveId" clId="{53D70CAF-C3D1-4333-B799-C2882D553C74}" dt="2020-04-06T17:09:06.332" v="1" actId="478"/>
          <ac:picMkLst>
            <pc:docMk/>
            <pc:sldMk cId="2053780298" sldId="261"/>
            <ac:picMk id="23" creationId="{31695DC8-4974-4B86-9154-6257AFE06ABB}"/>
          </ac:picMkLst>
        </pc:picChg>
        <pc:cxnChg chg="del">
          <ac:chgData name="Adam Muffitt" userId="f87af694dad07f1b" providerId="LiveId" clId="{53D70CAF-C3D1-4333-B799-C2882D553C74}" dt="2020-04-06T17:09:11.225" v="2" actId="478"/>
          <ac:cxnSpMkLst>
            <pc:docMk/>
            <pc:sldMk cId="2053780298" sldId="261"/>
            <ac:cxnSpMk id="5" creationId="{7DA86EDA-097F-4D83-B4F4-AB5F5F43750A}"/>
          </ac:cxnSpMkLst>
        </pc:cxnChg>
        <pc:cxnChg chg="del">
          <ac:chgData name="Adam Muffitt" userId="f87af694dad07f1b" providerId="LiveId" clId="{53D70CAF-C3D1-4333-B799-C2882D553C74}" dt="2020-04-06T17:09:06.332" v="1" actId="478"/>
          <ac:cxnSpMkLst>
            <pc:docMk/>
            <pc:sldMk cId="2053780298" sldId="261"/>
            <ac:cxnSpMk id="14" creationId="{94CA78C7-B239-4048-9CAA-A60139C3285C}"/>
          </ac:cxnSpMkLst>
        </pc:cxnChg>
        <pc:cxnChg chg="del">
          <ac:chgData name="Adam Muffitt" userId="f87af694dad07f1b" providerId="LiveId" clId="{53D70CAF-C3D1-4333-B799-C2882D553C74}" dt="2020-04-06T17:09:11.225" v="2" actId="478"/>
          <ac:cxnSpMkLst>
            <pc:docMk/>
            <pc:sldMk cId="2053780298" sldId="261"/>
            <ac:cxnSpMk id="24" creationId="{9B7E6C46-57E9-48CC-B9A7-7FA3CFA5D927}"/>
          </ac:cxnSpMkLst>
        </pc:cxnChg>
        <pc:cxnChg chg="del">
          <ac:chgData name="Adam Muffitt" userId="f87af694dad07f1b" providerId="LiveId" clId="{53D70CAF-C3D1-4333-B799-C2882D553C74}" dt="2020-04-06T17:09:11.225" v="2" actId="478"/>
          <ac:cxnSpMkLst>
            <pc:docMk/>
            <pc:sldMk cId="2053780298" sldId="261"/>
            <ac:cxnSpMk id="25" creationId="{6C023AED-F655-4B84-9ABC-FC992249B804}"/>
          </ac:cxnSpMkLst>
        </pc:cxnChg>
        <pc:cxnChg chg="del">
          <ac:chgData name="Adam Muffitt" userId="f87af694dad07f1b" providerId="LiveId" clId="{53D70CAF-C3D1-4333-B799-C2882D553C74}" dt="2020-04-06T17:09:11.225" v="2" actId="478"/>
          <ac:cxnSpMkLst>
            <pc:docMk/>
            <pc:sldMk cId="2053780298" sldId="261"/>
            <ac:cxnSpMk id="28" creationId="{5B3784BD-1692-40C0-8EBE-2BBBBB30E460}"/>
          </ac:cxnSpMkLst>
        </pc:cxnChg>
        <pc:cxnChg chg="del">
          <ac:chgData name="Adam Muffitt" userId="f87af694dad07f1b" providerId="LiveId" clId="{53D70CAF-C3D1-4333-B799-C2882D553C74}" dt="2020-04-06T17:09:11.225" v="2" actId="478"/>
          <ac:cxnSpMkLst>
            <pc:docMk/>
            <pc:sldMk cId="2053780298" sldId="261"/>
            <ac:cxnSpMk id="29" creationId="{FCE7C9CA-522A-45CF-954F-861436C453BB}"/>
          </ac:cxnSpMkLst>
        </pc:cxnChg>
      </pc:sldChg>
      <pc:sldChg chg="addSp delSp modSp mod">
        <pc:chgData name="Adam Muffitt" userId="f87af694dad07f1b" providerId="LiveId" clId="{53D70CAF-C3D1-4333-B799-C2882D553C74}" dt="2020-04-07T03:47:20.687" v="15460" actId="20577"/>
        <pc:sldMkLst>
          <pc:docMk/>
          <pc:sldMk cId="256898935" sldId="262"/>
        </pc:sldMkLst>
        <pc:spChg chg="add mod">
          <ac:chgData name="Adam Muffitt" userId="f87af694dad07f1b" providerId="LiveId" clId="{53D70CAF-C3D1-4333-B799-C2882D553C74}" dt="2020-04-07T02:10:11.386" v="10723" actId="20577"/>
          <ac:spMkLst>
            <pc:docMk/>
            <pc:sldMk cId="256898935" sldId="262"/>
            <ac:spMk id="5" creationId="{CD72D6C2-89CD-4AB7-A8E7-BB6BAEDEF6A9}"/>
          </ac:spMkLst>
        </pc:spChg>
        <pc:spChg chg="add del mod">
          <ac:chgData name="Adam Muffitt" userId="f87af694dad07f1b" providerId="LiveId" clId="{53D70CAF-C3D1-4333-B799-C2882D553C74}" dt="2020-04-07T02:06:20.288" v="10476" actId="478"/>
          <ac:spMkLst>
            <pc:docMk/>
            <pc:sldMk cId="256898935" sldId="262"/>
            <ac:spMk id="6" creationId="{C3C66131-91B2-4A5E-B0B0-B9D4724A4598}"/>
          </ac:spMkLst>
        </pc:spChg>
        <pc:spChg chg="add mod">
          <ac:chgData name="Adam Muffitt" userId="f87af694dad07f1b" providerId="LiveId" clId="{53D70CAF-C3D1-4333-B799-C2882D553C74}" dt="2020-04-07T03:46:56.001" v="15456" actId="1076"/>
          <ac:spMkLst>
            <pc:docMk/>
            <pc:sldMk cId="256898935" sldId="262"/>
            <ac:spMk id="9" creationId="{08A2098A-8A5C-458B-BFB2-2F338289A146}"/>
          </ac:spMkLst>
        </pc:spChg>
        <pc:spChg chg="add mod">
          <ac:chgData name="Adam Muffitt" userId="f87af694dad07f1b" providerId="LiveId" clId="{53D70CAF-C3D1-4333-B799-C2882D553C74}" dt="2020-04-07T03:47:20.687" v="15460" actId="20577"/>
          <ac:spMkLst>
            <pc:docMk/>
            <pc:sldMk cId="256898935" sldId="262"/>
            <ac:spMk id="10" creationId="{4A2D965B-110C-4473-B4A6-BF21FDB33A7C}"/>
          </ac:spMkLst>
        </pc:spChg>
        <pc:spChg chg="del">
          <ac:chgData name="Adam Muffitt" userId="f87af694dad07f1b" providerId="LiveId" clId="{53D70CAF-C3D1-4333-B799-C2882D553C74}" dt="2020-04-07T00:55:25.274" v="9829" actId="478"/>
          <ac:spMkLst>
            <pc:docMk/>
            <pc:sldMk cId="256898935" sldId="262"/>
            <ac:spMk id="12" creationId="{C5FAE3A1-E441-4E2A-B3A9-8095234D7BD3}"/>
          </ac:spMkLst>
        </pc:spChg>
        <pc:spChg chg="add mod">
          <ac:chgData name="Adam Muffitt" userId="f87af694dad07f1b" providerId="LiveId" clId="{53D70CAF-C3D1-4333-B799-C2882D553C74}" dt="2020-04-07T02:13:24.490" v="11059" actId="20577"/>
          <ac:spMkLst>
            <pc:docMk/>
            <pc:sldMk cId="256898935" sldId="262"/>
            <ac:spMk id="13" creationId="{857FF900-6404-404A-A965-53B1D36E0FB2}"/>
          </ac:spMkLst>
        </pc:spChg>
        <pc:spChg chg="add mod">
          <ac:chgData name="Adam Muffitt" userId="f87af694dad07f1b" providerId="LiveId" clId="{53D70CAF-C3D1-4333-B799-C2882D553C74}" dt="2020-04-07T02:10:16.107" v="10736" actId="20577"/>
          <ac:spMkLst>
            <pc:docMk/>
            <pc:sldMk cId="256898935" sldId="262"/>
            <ac:spMk id="16" creationId="{1ED0813E-A8A1-47E8-A1DA-AE5CB1D6D590}"/>
          </ac:spMkLst>
        </pc:spChg>
        <pc:spChg chg="del mod">
          <ac:chgData name="Adam Muffitt" userId="f87af694dad07f1b" providerId="LiveId" clId="{53D70CAF-C3D1-4333-B799-C2882D553C74}" dt="2020-04-07T00:56:44.443" v="9832" actId="478"/>
          <ac:spMkLst>
            <pc:docMk/>
            <pc:sldMk cId="256898935" sldId="262"/>
            <ac:spMk id="26" creationId="{2883D11B-1A80-423C-A365-C1D151D250A2}"/>
          </ac:spMkLst>
        </pc:spChg>
        <pc:spChg chg="del">
          <ac:chgData name="Adam Muffitt" userId="f87af694dad07f1b" providerId="LiveId" clId="{53D70CAF-C3D1-4333-B799-C2882D553C74}" dt="2020-04-07T02:06:17.553" v="10475" actId="478"/>
          <ac:spMkLst>
            <pc:docMk/>
            <pc:sldMk cId="256898935" sldId="262"/>
            <ac:spMk id="182" creationId="{00000000-0000-0000-0000-000000000000}"/>
          </ac:spMkLst>
        </pc:spChg>
        <pc:picChg chg="add mod">
          <ac:chgData name="Adam Muffitt" userId="f87af694dad07f1b" providerId="LiveId" clId="{53D70CAF-C3D1-4333-B799-C2882D553C74}" dt="2020-04-07T02:02:18.636" v="9961" actId="1038"/>
          <ac:picMkLst>
            <pc:docMk/>
            <pc:sldMk cId="256898935" sldId="262"/>
            <ac:picMk id="2" creationId="{26920F4A-7597-4A1E-91E9-0944BD962456}"/>
          </ac:picMkLst>
        </pc:picChg>
        <pc:picChg chg="add mod">
          <ac:chgData name="Adam Muffitt" userId="f87af694dad07f1b" providerId="LiveId" clId="{53D70CAF-C3D1-4333-B799-C2882D553C74}" dt="2020-04-06T18:18:39.149" v="287" actId="1035"/>
          <ac:picMkLst>
            <pc:docMk/>
            <pc:sldMk cId="256898935" sldId="262"/>
            <ac:picMk id="3" creationId="{74733699-B068-4612-8285-278AF219E552}"/>
          </ac:picMkLst>
        </pc:picChg>
        <pc:picChg chg="del">
          <ac:chgData name="Adam Muffitt" userId="f87af694dad07f1b" providerId="LiveId" clId="{53D70CAF-C3D1-4333-B799-C2882D553C74}" dt="2020-04-06T17:58:47.915" v="171" actId="478"/>
          <ac:picMkLst>
            <pc:docMk/>
            <pc:sldMk cId="256898935" sldId="262"/>
            <ac:picMk id="4" creationId="{E40BF31C-690E-4278-91A0-837EA5E1E537}"/>
          </ac:picMkLst>
        </pc:picChg>
        <pc:picChg chg="del">
          <ac:chgData name="Adam Muffitt" userId="f87af694dad07f1b" providerId="LiveId" clId="{53D70CAF-C3D1-4333-B799-C2882D553C74}" dt="2020-04-06T17:58:47.915" v="171" actId="478"/>
          <ac:picMkLst>
            <pc:docMk/>
            <pc:sldMk cId="256898935" sldId="262"/>
            <ac:picMk id="7" creationId="{E0F476A0-8434-4CBB-AE8F-E85E2C8F1572}"/>
          </ac:picMkLst>
        </pc:picChg>
        <pc:picChg chg="del">
          <ac:chgData name="Adam Muffitt" userId="f87af694dad07f1b" providerId="LiveId" clId="{53D70CAF-C3D1-4333-B799-C2882D553C74}" dt="2020-04-06T17:58:47.915" v="171" actId="478"/>
          <ac:picMkLst>
            <pc:docMk/>
            <pc:sldMk cId="256898935" sldId="262"/>
            <ac:picMk id="10" creationId="{B007C6F0-49C1-40C7-9E93-8F3C9423323F}"/>
          </ac:picMkLst>
        </pc:picChg>
        <pc:picChg chg="del">
          <ac:chgData name="Adam Muffitt" userId="f87af694dad07f1b" providerId="LiveId" clId="{53D70CAF-C3D1-4333-B799-C2882D553C74}" dt="2020-04-06T17:58:47.915" v="171" actId="478"/>
          <ac:picMkLst>
            <pc:docMk/>
            <pc:sldMk cId="256898935" sldId="262"/>
            <ac:picMk id="11" creationId="{2790DB9A-E81F-494A-987C-426D060F0E05}"/>
          </ac:picMkLst>
        </pc:picChg>
        <pc:picChg chg="del">
          <ac:chgData name="Adam Muffitt" userId="f87af694dad07f1b" providerId="LiveId" clId="{53D70CAF-C3D1-4333-B799-C2882D553C74}" dt="2020-04-06T17:58:47.915" v="171" actId="478"/>
          <ac:picMkLst>
            <pc:docMk/>
            <pc:sldMk cId="256898935" sldId="262"/>
            <ac:picMk id="14" creationId="{5C0FF9C1-85C4-446D-994F-C475CF63F228}"/>
          </ac:picMkLst>
        </pc:picChg>
        <pc:picChg chg="del">
          <ac:chgData name="Adam Muffitt" userId="f87af694dad07f1b" providerId="LiveId" clId="{53D70CAF-C3D1-4333-B799-C2882D553C74}" dt="2020-04-06T17:58:47.915" v="171" actId="478"/>
          <ac:picMkLst>
            <pc:docMk/>
            <pc:sldMk cId="256898935" sldId="262"/>
            <ac:picMk id="15" creationId="{AA515EDA-DBF1-4F3B-93C0-46C101D3437E}"/>
          </ac:picMkLst>
        </pc:picChg>
        <pc:picChg chg="del">
          <ac:chgData name="Adam Muffitt" userId="f87af694dad07f1b" providerId="LiveId" clId="{53D70CAF-C3D1-4333-B799-C2882D553C74}" dt="2020-04-06T17:58:47.915" v="171" actId="478"/>
          <ac:picMkLst>
            <pc:docMk/>
            <pc:sldMk cId="256898935" sldId="262"/>
            <ac:picMk id="17" creationId="{51F94EBA-DEB8-4900-AEFF-4F9E27531152}"/>
          </ac:picMkLst>
        </pc:picChg>
        <pc:picChg chg="del">
          <ac:chgData name="Adam Muffitt" userId="f87af694dad07f1b" providerId="LiveId" clId="{53D70CAF-C3D1-4333-B799-C2882D553C74}" dt="2020-04-06T17:58:47.915" v="171" actId="478"/>
          <ac:picMkLst>
            <pc:docMk/>
            <pc:sldMk cId="256898935" sldId="262"/>
            <ac:picMk id="19" creationId="{3B5DDEA8-DB55-428B-8D9E-633C7C927B95}"/>
          </ac:picMkLst>
        </pc:picChg>
      </pc:sldChg>
      <pc:sldChg chg="addSp delSp modSp add del mod ord">
        <pc:chgData name="Adam Muffitt" userId="f87af694dad07f1b" providerId="LiveId" clId="{53D70CAF-C3D1-4333-B799-C2882D553C74}" dt="2020-04-07T03:41:22.382" v="15264" actId="20577"/>
        <pc:sldMkLst>
          <pc:docMk/>
          <pc:sldMk cId="705546220" sldId="264"/>
        </pc:sldMkLst>
        <pc:spChg chg="del mod">
          <ac:chgData name="Adam Muffitt" userId="f87af694dad07f1b" providerId="LiveId" clId="{53D70CAF-C3D1-4333-B799-C2882D553C74}" dt="2020-04-06T17:47:20.924" v="142" actId="478"/>
          <ac:spMkLst>
            <pc:docMk/>
            <pc:sldMk cId="705546220" sldId="264"/>
            <ac:spMk id="5" creationId="{988E07B1-9E28-4736-8047-E26A2665471F}"/>
          </ac:spMkLst>
        </pc:spChg>
        <pc:spChg chg="del">
          <ac:chgData name="Adam Muffitt" userId="f87af694dad07f1b" providerId="LiveId" clId="{53D70CAF-C3D1-4333-B799-C2882D553C74}" dt="2020-04-07T00:24:55.379" v="8353" actId="478"/>
          <ac:spMkLst>
            <pc:docMk/>
            <pc:sldMk cId="705546220" sldId="264"/>
            <ac:spMk id="6" creationId="{5F7B8F06-109D-410A-A12F-A60503FEB7E6}"/>
          </ac:spMkLst>
        </pc:spChg>
        <pc:spChg chg="del">
          <ac:chgData name="Adam Muffitt" userId="f87af694dad07f1b" providerId="LiveId" clId="{53D70CAF-C3D1-4333-B799-C2882D553C74}" dt="2020-04-06T17:47:26.036" v="144" actId="478"/>
          <ac:spMkLst>
            <pc:docMk/>
            <pc:sldMk cId="705546220" sldId="264"/>
            <ac:spMk id="7" creationId="{87A42A02-533C-4B86-86B7-9E67A8C4FF7B}"/>
          </ac:spMkLst>
        </pc:spChg>
        <pc:spChg chg="del">
          <ac:chgData name="Adam Muffitt" userId="f87af694dad07f1b" providerId="LiveId" clId="{53D70CAF-C3D1-4333-B799-C2882D553C74}" dt="2020-04-06T17:47:14.673" v="140" actId="478"/>
          <ac:spMkLst>
            <pc:docMk/>
            <pc:sldMk cId="705546220" sldId="264"/>
            <ac:spMk id="8" creationId="{23475D6C-E919-4B1B-BDA8-B4D9C70723F9}"/>
          </ac:spMkLst>
        </pc:spChg>
        <pc:spChg chg="add del mod">
          <ac:chgData name="Adam Muffitt" userId="f87af694dad07f1b" providerId="LiveId" clId="{53D70CAF-C3D1-4333-B799-C2882D553C74}" dt="2020-04-07T00:25:19.579" v="8357" actId="478"/>
          <ac:spMkLst>
            <pc:docMk/>
            <pc:sldMk cId="705546220" sldId="264"/>
            <ac:spMk id="8" creationId="{CE3AFB5D-4CE9-4DB3-97A3-4E1C9C51FC4B}"/>
          </ac:spMkLst>
        </pc:spChg>
        <pc:spChg chg="add mod">
          <ac:chgData name="Adam Muffitt" userId="f87af694dad07f1b" providerId="LiveId" clId="{53D70CAF-C3D1-4333-B799-C2882D553C74}" dt="2020-04-07T00:35:49.388" v="8811" actId="1036"/>
          <ac:spMkLst>
            <pc:docMk/>
            <pc:sldMk cId="705546220" sldId="264"/>
            <ac:spMk id="9" creationId="{5D1F27F9-2591-4696-8B9E-01D9B6E473CF}"/>
          </ac:spMkLst>
        </pc:spChg>
        <pc:spChg chg="del mod">
          <ac:chgData name="Adam Muffitt" userId="f87af694dad07f1b" providerId="LiveId" clId="{53D70CAF-C3D1-4333-B799-C2882D553C74}" dt="2020-04-06T17:47:13.149" v="139" actId="478"/>
          <ac:spMkLst>
            <pc:docMk/>
            <pc:sldMk cId="705546220" sldId="264"/>
            <ac:spMk id="10" creationId="{FACB0526-238A-4B58-AC98-9125261658D9}"/>
          </ac:spMkLst>
        </pc:spChg>
        <pc:spChg chg="del">
          <ac:chgData name="Adam Muffitt" userId="f87af694dad07f1b" providerId="LiveId" clId="{53D70CAF-C3D1-4333-B799-C2882D553C74}" dt="2020-04-06T17:47:08.918" v="137" actId="478"/>
          <ac:spMkLst>
            <pc:docMk/>
            <pc:sldMk cId="705546220" sldId="264"/>
            <ac:spMk id="11" creationId="{519A7259-7ACB-4CB5-A811-388F95692858}"/>
          </ac:spMkLst>
        </pc:spChg>
        <pc:spChg chg="add del mod">
          <ac:chgData name="Adam Muffitt" userId="f87af694dad07f1b" providerId="LiveId" clId="{53D70CAF-C3D1-4333-B799-C2882D553C74}" dt="2020-04-07T02:07:29.140" v="10485" actId="478"/>
          <ac:spMkLst>
            <pc:docMk/>
            <pc:sldMk cId="705546220" sldId="264"/>
            <ac:spMk id="11" creationId="{DD677921-D838-4E93-8180-AD13AC55A99E}"/>
          </ac:spMkLst>
        </pc:spChg>
        <pc:spChg chg="add mod">
          <ac:chgData name="Adam Muffitt" userId="f87af694dad07f1b" providerId="LiveId" clId="{53D70CAF-C3D1-4333-B799-C2882D553C74}" dt="2020-04-07T03:41:22.382" v="15264" actId="20577"/>
          <ac:spMkLst>
            <pc:docMk/>
            <pc:sldMk cId="705546220" sldId="264"/>
            <ac:spMk id="12" creationId="{6043D853-D4FA-4D9E-9597-74A9FC378971}"/>
          </ac:spMkLst>
        </pc:spChg>
        <pc:spChg chg="add mod">
          <ac:chgData name="Adam Muffitt" userId="f87af694dad07f1b" providerId="LiveId" clId="{53D70CAF-C3D1-4333-B799-C2882D553C74}" dt="2020-04-07T00:38:14.376" v="8901" actId="20577"/>
          <ac:spMkLst>
            <pc:docMk/>
            <pc:sldMk cId="705546220" sldId="264"/>
            <ac:spMk id="13" creationId="{085C464D-8040-449B-BE48-E724E495B16C}"/>
          </ac:spMkLst>
        </pc:spChg>
        <pc:spChg chg="del">
          <ac:chgData name="Adam Muffitt" userId="f87af694dad07f1b" providerId="LiveId" clId="{53D70CAF-C3D1-4333-B799-C2882D553C74}" dt="2020-04-07T00:25:14.743" v="8356" actId="478"/>
          <ac:spMkLst>
            <pc:docMk/>
            <pc:sldMk cId="705546220" sldId="264"/>
            <ac:spMk id="182" creationId="{00000000-0000-0000-0000-000000000000}"/>
          </ac:spMkLst>
        </pc:spChg>
        <pc:picChg chg="del">
          <ac:chgData name="Adam Muffitt" userId="f87af694dad07f1b" providerId="LiveId" clId="{53D70CAF-C3D1-4333-B799-C2882D553C74}" dt="2020-04-06T17:47:06.988" v="136" actId="478"/>
          <ac:picMkLst>
            <pc:docMk/>
            <pc:sldMk cId="705546220" sldId="264"/>
            <ac:picMk id="2" creationId="{4DC9B2A6-3E89-4E86-AC5A-C2A9AFD3E1E2}"/>
          </ac:picMkLst>
        </pc:picChg>
        <pc:picChg chg="del">
          <ac:chgData name="Adam Muffitt" userId="f87af694dad07f1b" providerId="LiveId" clId="{53D70CAF-C3D1-4333-B799-C2882D553C74}" dt="2020-04-06T17:47:22.044" v="143" actId="478"/>
          <ac:picMkLst>
            <pc:docMk/>
            <pc:sldMk cId="705546220" sldId="264"/>
            <ac:picMk id="3" creationId="{767CBD9E-7214-4291-92A1-196DB81E8BB2}"/>
          </ac:picMkLst>
        </pc:picChg>
        <pc:picChg chg="add mod">
          <ac:chgData name="Adam Muffitt" userId="f87af694dad07f1b" providerId="LiveId" clId="{53D70CAF-C3D1-4333-B799-C2882D553C74}" dt="2020-04-06T17:49:48.848" v="149" actId="1076"/>
          <ac:picMkLst>
            <pc:docMk/>
            <pc:sldMk cId="705546220" sldId="264"/>
            <ac:picMk id="9" creationId="{01358EF3-1DC1-477B-AC7A-207CD46C3734}"/>
          </ac:picMkLst>
        </pc:picChg>
        <pc:picChg chg="add mod">
          <ac:chgData name="Adam Muffitt" userId="f87af694dad07f1b" providerId="LiveId" clId="{53D70CAF-C3D1-4333-B799-C2882D553C74}" dt="2020-04-06T17:50:07.023" v="152" actId="208"/>
          <ac:picMkLst>
            <pc:docMk/>
            <pc:sldMk cId="705546220" sldId="264"/>
            <ac:picMk id="12" creationId="{7543F6C7-FAE2-4A8B-99A9-3D26007BDBC5}"/>
          </ac:picMkLst>
        </pc:picChg>
        <pc:picChg chg="add del mod">
          <ac:chgData name="Adam Muffitt" userId="f87af694dad07f1b" providerId="LiveId" clId="{53D70CAF-C3D1-4333-B799-C2882D553C74}" dt="2020-04-06T19:19:22.864" v="375" actId="478"/>
          <ac:picMkLst>
            <pc:docMk/>
            <pc:sldMk cId="705546220" sldId="264"/>
            <ac:picMk id="13" creationId="{E3F24E53-BA93-4A35-9CF3-97A8E897A7CE}"/>
          </ac:picMkLst>
        </pc:picChg>
      </pc:sldChg>
      <pc:sldChg chg="addSp delSp modSp mod">
        <pc:chgData name="Adam Muffitt" userId="f87af694dad07f1b" providerId="LiveId" clId="{53D70CAF-C3D1-4333-B799-C2882D553C74}" dt="2020-04-07T03:34:55.576" v="15171" actId="20577"/>
        <pc:sldMkLst>
          <pc:docMk/>
          <pc:sldMk cId="2781324357" sldId="265"/>
        </pc:sldMkLst>
        <pc:spChg chg="mod">
          <ac:chgData name="Adam Muffitt" userId="f87af694dad07f1b" providerId="LiveId" clId="{53D70CAF-C3D1-4333-B799-C2882D553C74}" dt="2020-04-07T03:32:24.756" v="15056" actId="1076"/>
          <ac:spMkLst>
            <pc:docMk/>
            <pc:sldMk cId="2781324357" sldId="265"/>
            <ac:spMk id="8" creationId="{C53BD61C-8336-4CFA-B958-0D38FAD398D0}"/>
          </ac:spMkLst>
        </pc:spChg>
        <pc:spChg chg="mod">
          <ac:chgData name="Adam Muffitt" userId="f87af694dad07f1b" providerId="LiveId" clId="{53D70CAF-C3D1-4333-B799-C2882D553C74}" dt="2020-04-07T03:34:55.576" v="15171" actId="20577"/>
          <ac:spMkLst>
            <pc:docMk/>
            <pc:sldMk cId="2781324357" sldId="265"/>
            <ac:spMk id="26" creationId="{B6A2C6C7-B0DF-4446-8947-FB9951821467}"/>
          </ac:spMkLst>
        </pc:spChg>
        <pc:spChg chg="mod">
          <ac:chgData name="Adam Muffitt" userId="f87af694dad07f1b" providerId="LiveId" clId="{53D70CAF-C3D1-4333-B799-C2882D553C74}" dt="2020-04-07T03:32:12.745" v="15055" actId="20577"/>
          <ac:spMkLst>
            <pc:docMk/>
            <pc:sldMk cId="2781324357" sldId="265"/>
            <ac:spMk id="182" creationId="{00000000-0000-0000-0000-000000000000}"/>
          </ac:spMkLst>
        </pc:spChg>
        <pc:picChg chg="del">
          <ac:chgData name="Adam Muffitt" userId="f87af694dad07f1b" providerId="LiveId" clId="{53D70CAF-C3D1-4333-B799-C2882D553C74}" dt="2020-04-06T21:06:37.111" v="432" actId="478"/>
          <ac:picMkLst>
            <pc:docMk/>
            <pc:sldMk cId="2781324357" sldId="265"/>
            <ac:picMk id="2" creationId="{CACFC233-D68C-4B13-843A-D808016A7FD5}"/>
          </ac:picMkLst>
        </pc:picChg>
        <pc:picChg chg="add del mod">
          <ac:chgData name="Adam Muffitt" userId="f87af694dad07f1b" providerId="LiveId" clId="{53D70CAF-C3D1-4333-B799-C2882D553C74}" dt="2020-04-06T21:07:14.015" v="435" actId="478"/>
          <ac:picMkLst>
            <pc:docMk/>
            <pc:sldMk cId="2781324357" sldId="265"/>
            <ac:picMk id="3" creationId="{B617E370-C27F-4B65-B3B0-91BBADEBD905}"/>
          </ac:picMkLst>
        </pc:picChg>
        <pc:picChg chg="add mod">
          <ac:chgData name="Adam Muffitt" userId="f87af694dad07f1b" providerId="LiveId" clId="{53D70CAF-C3D1-4333-B799-C2882D553C74}" dt="2020-04-06T21:09:00.535" v="451" actId="1036"/>
          <ac:picMkLst>
            <pc:docMk/>
            <pc:sldMk cId="2781324357" sldId="265"/>
            <ac:picMk id="9" creationId="{316B1E4D-A3A0-4C1C-9CF0-36B0A61067D6}"/>
          </ac:picMkLst>
        </pc:picChg>
      </pc:sldChg>
      <pc:sldChg chg="addSp delSp modSp mod">
        <pc:chgData name="Adam Muffitt" userId="f87af694dad07f1b" providerId="LiveId" clId="{53D70CAF-C3D1-4333-B799-C2882D553C74}" dt="2020-04-07T03:43:05.674" v="15265" actId="20577"/>
        <pc:sldMkLst>
          <pc:docMk/>
          <pc:sldMk cId="1674657168" sldId="266"/>
        </pc:sldMkLst>
        <pc:spChg chg="del">
          <ac:chgData name="Adam Muffitt" userId="f87af694dad07f1b" providerId="LiveId" clId="{53D70CAF-C3D1-4333-B799-C2882D553C74}" dt="2020-04-06T17:38:10.791" v="129" actId="478"/>
          <ac:spMkLst>
            <pc:docMk/>
            <pc:sldMk cId="1674657168" sldId="266"/>
            <ac:spMk id="3" creationId="{A3C40ADA-6CD5-498A-9CD6-5F40D4A77124}"/>
          </ac:spMkLst>
        </pc:spChg>
        <pc:spChg chg="add del mod">
          <ac:chgData name="Adam Muffitt" userId="f87af694dad07f1b" providerId="LiveId" clId="{53D70CAF-C3D1-4333-B799-C2882D553C74}" dt="2020-04-07T00:39:16.871" v="8903" actId="478"/>
          <ac:spMkLst>
            <pc:docMk/>
            <pc:sldMk cId="1674657168" sldId="266"/>
            <ac:spMk id="5" creationId="{11141E36-19E0-412B-8D9D-7FA891C87ADB}"/>
          </ac:spMkLst>
        </pc:spChg>
        <pc:spChg chg="add del">
          <ac:chgData name="Adam Muffitt" userId="f87af694dad07f1b" providerId="LiveId" clId="{53D70CAF-C3D1-4333-B799-C2882D553C74}" dt="2020-04-07T02:24:23.222" v="11911"/>
          <ac:spMkLst>
            <pc:docMk/>
            <pc:sldMk cId="1674657168" sldId="266"/>
            <ac:spMk id="6" creationId="{A8A9EA75-AF8C-4380-BC8E-66C9A29B1C85}"/>
          </ac:spMkLst>
        </pc:spChg>
        <pc:spChg chg="add del mod">
          <ac:chgData name="Adam Muffitt" userId="f87af694dad07f1b" providerId="LiveId" clId="{53D70CAF-C3D1-4333-B799-C2882D553C74}" dt="2020-04-07T02:24:59.141" v="11915" actId="478"/>
          <ac:spMkLst>
            <pc:docMk/>
            <pc:sldMk cId="1674657168" sldId="266"/>
            <ac:spMk id="7" creationId="{1785971B-ED69-4C9D-83D6-D6BA9DD544DA}"/>
          </ac:spMkLst>
        </pc:spChg>
        <pc:spChg chg="del">
          <ac:chgData name="Adam Muffitt" userId="f87af694dad07f1b" providerId="LiveId" clId="{53D70CAF-C3D1-4333-B799-C2882D553C74}" dt="2020-04-07T00:40:47.191" v="8988" actId="478"/>
          <ac:spMkLst>
            <pc:docMk/>
            <pc:sldMk cId="1674657168" sldId="266"/>
            <ac:spMk id="8" creationId="{EDBE4289-AB2A-416A-A021-82DCF7446541}"/>
          </ac:spMkLst>
        </pc:spChg>
        <pc:spChg chg="add mod">
          <ac:chgData name="Adam Muffitt" userId="f87af694dad07f1b" providerId="LiveId" clId="{53D70CAF-C3D1-4333-B799-C2882D553C74}" dt="2020-04-07T00:51:40.396" v="9805" actId="20577"/>
          <ac:spMkLst>
            <pc:docMk/>
            <pc:sldMk cId="1674657168" sldId="266"/>
            <ac:spMk id="10" creationId="{777991C4-2286-40DF-AF07-07875D5AA2F0}"/>
          </ac:spMkLst>
        </pc:spChg>
        <pc:spChg chg="mod">
          <ac:chgData name="Adam Muffitt" userId="f87af694dad07f1b" providerId="LiveId" clId="{53D70CAF-C3D1-4333-B799-C2882D553C74}" dt="2020-04-07T02:24:15.977" v="11909" actId="1076"/>
          <ac:spMkLst>
            <pc:docMk/>
            <pc:sldMk cId="1674657168" sldId="266"/>
            <ac:spMk id="11" creationId="{8CC9364B-7ABA-4CDC-93D5-86D221E30998}"/>
          </ac:spMkLst>
        </pc:spChg>
        <pc:spChg chg="add mod">
          <ac:chgData name="Adam Muffitt" userId="f87af694dad07f1b" providerId="LiveId" clId="{53D70CAF-C3D1-4333-B799-C2882D553C74}" dt="2020-04-07T00:40:52.780" v="8990" actId="1076"/>
          <ac:spMkLst>
            <pc:docMk/>
            <pc:sldMk cId="1674657168" sldId="266"/>
            <ac:spMk id="12" creationId="{0C645A23-D033-4810-B57C-1F106A672EF3}"/>
          </ac:spMkLst>
        </pc:spChg>
        <pc:spChg chg="mod">
          <ac:chgData name="Adam Muffitt" userId="f87af694dad07f1b" providerId="LiveId" clId="{53D70CAF-C3D1-4333-B799-C2882D553C74}" dt="2020-04-07T03:43:05.674" v="15265" actId="20577"/>
          <ac:spMkLst>
            <pc:docMk/>
            <pc:sldMk cId="1674657168" sldId="266"/>
            <ac:spMk id="15" creationId="{50340269-CCC7-4AAF-8F7D-7A557B8DDCBD}"/>
          </ac:spMkLst>
        </pc:spChg>
        <pc:spChg chg="del">
          <ac:chgData name="Adam Muffitt" userId="f87af694dad07f1b" providerId="LiveId" clId="{53D70CAF-C3D1-4333-B799-C2882D553C74}" dt="2020-04-07T00:39:14.529" v="8902" actId="478"/>
          <ac:spMkLst>
            <pc:docMk/>
            <pc:sldMk cId="1674657168" sldId="266"/>
            <ac:spMk id="182" creationId="{00000000-0000-0000-0000-000000000000}"/>
          </ac:spMkLst>
        </pc:spChg>
        <pc:picChg chg="add mod">
          <ac:chgData name="Adam Muffitt" userId="f87af694dad07f1b" providerId="LiveId" clId="{53D70CAF-C3D1-4333-B799-C2882D553C74}" dt="2020-04-06T17:38:54.554" v="135" actId="14100"/>
          <ac:picMkLst>
            <pc:docMk/>
            <pc:sldMk cId="1674657168" sldId="266"/>
            <ac:picMk id="2" creationId="{F275EE43-D19A-47DC-B228-C082EF4D9F73}"/>
          </ac:picMkLst>
        </pc:picChg>
        <pc:picChg chg="del">
          <ac:chgData name="Adam Muffitt" userId="f87af694dad07f1b" providerId="LiveId" clId="{53D70CAF-C3D1-4333-B799-C2882D553C74}" dt="2020-04-06T17:35:55.948" v="128" actId="478"/>
          <ac:picMkLst>
            <pc:docMk/>
            <pc:sldMk cId="1674657168" sldId="266"/>
            <ac:picMk id="6" creationId="{95CD2CC1-07A3-4CEB-8FA5-4782B330213F}"/>
          </ac:picMkLst>
        </pc:picChg>
      </pc:sldChg>
      <pc:sldChg chg="modCm">
        <pc:chgData name="Adam Muffitt" userId="f87af694dad07f1b" providerId="LiveId" clId="{53D70CAF-C3D1-4333-B799-C2882D553C74}" dt="2020-04-08T20:18:27.075" v="15606"/>
        <pc:sldMkLst>
          <pc:docMk/>
          <pc:sldMk cId="0" sldId="268"/>
        </pc:sldMkLst>
      </pc:sldChg>
      <pc:sldChg chg="addSp delSp modSp mod">
        <pc:chgData name="Adam Muffitt" userId="f87af694dad07f1b" providerId="LiveId" clId="{53D70CAF-C3D1-4333-B799-C2882D553C74}" dt="2020-04-07T02:55:21.496" v="13282" actId="20577"/>
        <pc:sldMkLst>
          <pc:docMk/>
          <pc:sldMk cId="3880383685" sldId="269"/>
        </pc:sldMkLst>
        <pc:spChg chg="add mod">
          <ac:chgData name="Adam Muffitt" userId="f87af694dad07f1b" providerId="LiveId" clId="{53D70CAF-C3D1-4333-B799-C2882D553C74}" dt="2020-04-07T02:44:00.688" v="12808" actId="1076"/>
          <ac:spMkLst>
            <pc:docMk/>
            <pc:sldMk cId="3880383685" sldId="269"/>
            <ac:spMk id="10" creationId="{C4B2BBAF-4C83-4A18-8152-10FC29204A9E}"/>
          </ac:spMkLst>
        </pc:spChg>
        <pc:spChg chg="del">
          <ac:chgData name="Adam Muffitt" userId="f87af694dad07f1b" providerId="LiveId" clId="{53D70CAF-C3D1-4333-B799-C2882D553C74}" dt="2020-04-07T02:45:46.743" v="12843" actId="478"/>
          <ac:spMkLst>
            <pc:docMk/>
            <pc:sldMk cId="3880383685" sldId="269"/>
            <ac:spMk id="12" creationId="{C5FAE3A1-E441-4E2A-B3A9-8095234D7BD3}"/>
          </ac:spMkLst>
        </pc:spChg>
        <pc:spChg chg="add mod">
          <ac:chgData name="Adam Muffitt" userId="f87af694dad07f1b" providerId="LiveId" clId="{53D70CAF-C3D1-4333-B799-C2882D553C74}" dt="2020-04-07T02:55:21.496" v="13282" actId="20577"/>
          <ac:spMkLst>
            <pc:docMk/>
            <pc:sldMk cId="3880383685" sldId="269"/>
            <ac:spMk id="14" creationId="{4576DB0C-A726-40B2-A516-D4BE624B1696}"/>
          </ac:spMkLst>
        </pc:spChg>
        <pc:spChg chg="add mod">
          <ac:chgData name="Adam Muffitt" userId="f87af694dad07f1b" providerId="LiveId" clId="{53D70CAF-C3D1-4333-B799-C2882D553C74}" dt="2020-04-07T02:45:24.919" v="12842" actId="14100"/>
          <ac:spMkLst>
            <pc:docMk/>
            <pc:sldMk cId="3880383685" sldId="269"/>
            <ac:spMk id="15" creationId="{E0CDB961-476E-450A-81D5-3C83E87D8E5D}"/>
          </ac:spMkLst>
        </pc:spChg>
        <pc:spChg chg="add del">
          <ac:chgData name="Adam Muffitt" userId="f87af694dad07f1b" providerId="LiveId" clId="{53D70CAF-C3D1-4333-B799-C2882D553C74}" dt="2020-04-07T02:44:53.074" v="12836"/>
          <ac:spMkLst>
            <pc:docMk/>
            <pc:sldMk cId="3880383685" sldId="269"/>
            <ac:spMk id="16" creationId="{8DB04D10-3856-44AB-99A0-320B7A427273}"/>
          </ac:spMkLst>
        </pc:spChg>
        <pc:spChg chg="add del">
          <ac:chgData name="Adam Muffitt" userId="f87af694dad07f1b" providerId="LiveId" clId="{53D70CAF-C3D1-4333-B799-C2882D553C74}" dt="2020-04-07T02:44:59.849" v="12838"/>
          <ac:spMkLst>
            <pc:docMk/>
            <pc:sldMk cId="3880383685" sldId="269"/>
            <ac:spMk id="17" creationId="{DC9E4F8F-FE01-4D2D-AD54-E584CEB3F56C}"/>
          </ac:spMkLst>
        </pc:spChg>
        <pc:spChg chg="add mod">
          <ac:chgData name="Adam Muffitt" userId="f87af694dad07f1b" providerId="LiveId" clId="{53D70CAF-C3D1-4333-B799-C2882D553C74}" dt="2020-04-07T02:53:57.652" v="13268" actId="20577"/>
          <ac:spMkLst>
            <pc:docMk/>
            <pc:sldMk cId="3880383685" sldId="269"/>
            <ac:spMk id="18" creationId="{7C462387-B7A2-4B4C-9A7B-9657312EEF78}"/>
          </ac:spMkLst>
        </pc:spChg>
        <pc:spChg chg="add">
          <ac:chgData name="Adam Muffitt" userId="f87af694dad07f1b" providerId="LiveId" clId="{53D70CAF-C3D1-4333-B799-C2882D553C74}" dt="2020-04-07T02:45:47.580" v="12844"/>
          <ac:spMkLst>
            <pc:docMk/>
            <pc:sldMk cId="3880383685" sldId="269"/>
            <ac:spMk id="19" creationId="{CCA2E1F2-2CCA-41E9-991D-36C95698524C}"/>
          </ac:spMkLst>
        </pc:spChg>
        <pc:spChg chg="del">
          <ac:chgData name="Adam Muffitt" userId="f87af694dad07f1b" providerId="LiveId" clId="{53D70CAF-C3D1-4333-B799-C2882D553C74}" dt="2020-04-07T02:44:44.371" v="12833" actId="478"/>
          <ac:spMkLst>
            <pc:docMk/>
            <pc:sldMk cId="3880383685" sldId="269"/>
            <ac:spMk id="26" creationId="{2883D11B-1A80-423C-A365-C1D151D250A2}"/>
          </ac:spMkLst>
        </pc:spChg>
        <pc:spChg chg="mod">
          <ac:chgData name="Adam Muffitt" userId="f87af694dad07f1b" providerId="LiveId" clId="{53D70CAF-C3D1-4333-B799-C2882D553C74}" dt="2020-04-07T02:54:47.139" v="13270" actId="20577"/>
          <ac:spMkLst>
            <pc:docMk/>
            <pc:sldMk cId="3880383685" sldId="269"/>
            <ac:spMk id="182" creationId="{00000000-0000-0000-0000-000000000000}"/>
          </ac:spMkLst>
        </pc:spChg>
        <pc:picChg chg="add mod">
          <ac:chgData name="Adam Muffitt" userId="f87af694dad07f1b" providerId="LiveId" clId="{53D70CAF-C3D1-4333-B799-C2882D553C74}" dt="2020-04-07T02:38:26.665" v="12531" actId="1035"/>
          <ac:picMkLst>
            <pc:docMk/>
            <pc:sldMk cId="3880383685" sldId="269"/>
            <ac:picMk id="2" creationId="{4036832E-7740-41EA-B725-777D59824E8F}"/>
          </ac:picMkLst>
        </pc:picChg>
        <pc:picChg chg="add mod">
          <ac:chgData name="Adam Muffitt" userId="f87af694dad07f1b" providerId="LiveId" clId="{53D70CAF-C3D1-4333-B799-C2882D553C74}" dt="2020-04-07T02:38:24.049" v="12529" actId="1035"/>
          <ac:picMkLst>
            <pc:docMk/>
            <pc:sldMk cId="3880383685" sldId="269"/>
            <ac:picMk id="3" creationId="{061A3428-C3A7-4B1A-8A1C-B847AA9DD983}"/>
          </ac:picMkLst>
        </pc:picChg>
        <pc:picChg chg="del">
          <ac:chgData name="Adam Muffitt" userId="f87af694dad07f1b" providerId="LiveId" clId="{53D70CAF-C3D1-4333-B799-C2882D553C74}" dt="2020-04-06T18:25:19.867" v="297" actId="478"/>
          <ac:picMkLst>
            <pc:docMk/>
            <pc:sldMk cId="3880383685" sldId="269"/>
            <ac:picMk id="4" creationId="{E40BF31C-690E-4278-91A0-837EA5E1E537}"/>
          </ac:picMkLst>
        </pc:picChg>
        <pc:picChg chg="add mod">
          <ac:chgData name="Adam Muffitt" userId="f87af694dad07f1b" providerId="LiveId" clId="{53D70CAF-C3D1-4333-B799-C2882D553C74}" dt="2020-04-07T02:38:02.952" v="12509" actId="1076"/>
          <ac:picMkLst>
            <pc:docMk/>
            <pc:sldMk cId="3880383685" sldId="269"/>
            <ac:picMk id="7" creationId="{7EA857E4-CF6E-444E-A452-68948A2BC13D}"/>
          </ac:picMkLst>
        </pc:picChg>
        <pc:picChg chg="add del mod">
          <ac:chgData name="Adam Muffitt" userId="f87af694dad07f1b" providerId="LiveId" clId="{53D70CAF-C3D1-4333-B799-C2882D553C74}" dt="2020-04-06T20:54:57.057" v="428"/>
          <ac:picMkLst>
            <pc:docMk/>
            <pc:sldMk cId="3880383685" sldId="269"/>
            <ac:picMk id="7" creationId="{BB33001F-2227-4910-A48C-53F3549B7CE0}"/>
          </ac:picMkLst>
        </pc:picChg>
        <pc:picChg chg="del">
          <ac:chgData name="Adam Muffitt" userId="f87af694dad07f1b" providerId="LiveId" clId="{53D70CAF-C3D1-4333-B799-C2882D553C74}" dt="2020-04-06T18:25:19.392" v="296" actId="478"/>
          <ac:picMkLst>
            <pc:docMk/>
            <pc:sldMk cId="3880383685" sldId="269"/>
            <ac:picMk id="7" creationId="{E0F476A0-8434-4CBB-AE8F-E85E2C8F1572}"/>
          </ac:picMkLst>
        </pc:picChg>
        <pc:picChg chg="del">
          <ac:chgData name="Adam Muffitt" userId="f87af694dad07f1b" providerId="LiveId" clId="{53D70CAF-C3D1-4333-B799-C2882D553C74}" dt="2020-04-06T18:25:20.332" v="298" actId="478"/>
          <ac:picMkLst>
            <pc:docMk/>
            <pc:sldMk cId="3880383685" sldId="269"/>
            <ac:picMk id="10" creationId="{B007C6F0-49C1-40C7-9E93-8F3C9423323F}"/>
          </ac:picMkLst>
        </pc:picChg>
        <pc:picChg chg="del">
          <ac:chgData name="Adam Muffitt" userId="f87af694dad07f1b" providerId="LiveId" clId="{53D70CAF-C3D1-4333-B799-C2882D553C74}" dt="2020-04-06T18:25:18.392" v="294" actId="478"/>
          <ac:picMkLst>
            <pc:docMk/>
            <pc:sldMk cId="3880383685" sldId="269"/>
            <ac:picMk id="11" creationId="{2790DB9A-E81F-494A-987C-426D060F0E05}"/>
          </ac:picMkLst>
        </pc:picChg>
        <pc:picChg chg="del">
          <ac:chgData name="Adam Muffitt" userId="f87af694dad07f1b" providerId="LiveId" clId="{53D70CAF-C3D1-4333-B799-C2882D553C74}" dt="2020-04-06T18:25:20.774" v="299" actId="478"/>
          <ac:picMkLst>
            <pc:docMk/>
            <pc:sldMk cId="3880383685" sldId="269"/>
            <ac:picMk id="14" creationId="{5C0FF9C1-85C4-446D-994F-C475CF63F228}"/>
          </ac:picMkLst>
        </pc:picChg>
        <pc:picChg chg="del">
          <ac:chgData name="Adam Muffitt" userId="f87af694dad07f1b" providerId="LiveId" clId="{53D70CAF-C3D1-4333-B799-C2882D553C74}" dt="2020-04-06T18:25:18.844" v="295" actId="478"/>
          <ac:picMkLst>
            <pc:docMk/>
            <pc:sldMk cId="3880383685" sldId="269"/>
            <ac:picMk id="15" creationId="{AA515EDA-DBF1-4F3B-93C0-46C101D3437E}"/>
          </ac:picMkLst>
        </pc:picChg>
        <pc:picChg chg="del">
          <ac:chgData name="Adam Muffitt" userId="f87af694dad07f1b" providerId="LiveId" clId="{53D70CAF-C3D1-4333-B799-C2882D553C74}" dt="2020-04-06T18:25:17.304" v="292" actId="478"/>
          <ac:picMkLst>
            <pc:docMk/>
            <pc:sldMk cId="3880383685" sldId="269"/>
            <ac:picMk id="17" creationId="{51F94EBA-DEB8-4900-AEFF-4F9E27531152}"/>
          </ac:picMkLst>
        </pc:picChg>
        <pc:picChg chg="del">
          <ac:chgData name="Adam Muffitt" userId="f87af694dad07f1b" providerId="LiveId" clId="{53D70CAF-C3D1-4333-B799-C2882D553C74}" dt="2020-04-06T18:25:17.884" v="293" actId="478"/>
          <ac:picMkLst>
            <pc:docMk/>
            <pc:sldMk cId="3880383685" sldId="269"/>
            <ac:picMk id="19" creationId="{3B5DDEA8-DB55-428B-8D9E-633C7C927B95}"/>
          </ac:picMkLst>
        </pc:picChg>
        <pc:cxnChg chg="add mod">
          <ac:chgData name="Adam Muffitt" userId="f87af694dad07f1b" providerId="LiveId" clId="{53D70CAF-C3D1-4333-B799-C2882D553C74}" dt="2020-04-07T02:37:37.599" v="12507" actId="208"/>
          <ac:cxnSpMkLst>
            <pc:docMk/>
            <pc:sldMk cId="3880383685" sldId="269"/>
            <ac:cxnSpMk id="5" creationId="{C0A8329D-C5FB-4CF3-A564-3F67A420F10D}"/>
          </ac:cxnSpMkLst>
        </pc:cxnChg>
      </pc:sldChg>
      <pc:sldChg chg="addSp delSp modSp mod ord">
        <pc:chgData name="Adam Muffitt" userId="f87af694dad07f1b" providerId="LiveId" clId="{53D70CAF-C3D1-4333-B799-C2882D553C74}" dt="2020-04-07T03:48:02.518" v="15461" actId="20577"/>
        <pc:sldMkLst>
          <pc:docMk/>
          <pc:sldMk cId="2772573308" sldId="270"/>
        </pc:sldMkLst>
        <pc:spChg chg="add mod">
          <ac:chgData name="Adam Muffitt" userId="f87af694dad07f1b" providerId="LiveId" clId="{53D70CAF-C3D1-4333-B799-C2882D553C74}" dt="2020-04-07T02:19:10.173" v="11379" actId="1076"/>
          <ac:spMkLst>
            <pc:docMk/>
            <pc:sldMk cId="2772573308" sldId="270"/>
            <ac:spMk id="7" creationId="{B344FACE-1968-4E39-98C5-E1581689AA49}"/>
          </ac:spMkLst>
        </pc:spChg>
        <pc:spChg chg="add mod">
          <ac:chgData name="Adam Muffitt" userId="f87af694dad07f1b" providerId="LiveId" clId="{53D70CAF-C3D1-4333-B799-C2882D553C74}" dt="2020-04-07T03:48:02.518" v="15461" actId="20577"/>
          <ac:spMkLst>
            <pc:docMk/>
            <pc:sldMk cId="2772573308" sldId="270"/>
            <ac:spMk id="8" creationId="{53E9744C-E089-451D-B8D0-669E5B7BD740}"/>
          </ac:spMkLst>
        </pc:spChg>
        <pc:spChg chg="del">
          <ac:chgData name="Adam Muffitt" userId="f87af694dad07f1b" providerId="LiveId" clId="{53D70CAF-C3D1-4333-B799-C2882D553C74}" dt="2020-04-07T02:13:50.088" v="11060" actId="478"/>
          <ac:spMkLst>
            <pc:docMk/>
            <pc:sldMk cId="2772573308" sldId="270"/>
            <ac:spMk id="12" creationId="{C5FAE3A1-E441-4E2A-B3A9-8095234D7BD3}"/>
          </ac:spMkLst>
        </pc:spChg>
        <pc:spChg chg="del mod">
          <ac:chgData name="Adam Muffitt" userId="f87af694dad07f1b" providerId="LiveId" clId="{53D70CAF-C3D1-4333-B799-C2882D553C74}" dt="2020-04-07T02:14:01.363" v="11062" actId="478"/>
          <ac:spMkLst>
            <pc:docMk/>
            <pc:sldMk cId="2772573308" sldId="270"/>
            <ac:spMk id="26" creationId="{2883D11B-1A80-423C-A365-C1D151D250A2}"/>
          </ac:spMkLst>
        </pc:spChg>
        <pc:spChg chg="mod">
          <ac:chgData name="Adam Muffitt" userId="f87af694dad07f1b" providerId="LiveId" clId="{53D70CAF-C3D1-4333-B799-C2882D553C74}" dt="2020-04-07T02:18:32.194" v="11375" actId="20577"/>
          <ac:spMkLst>
            <pc:docMk/>
            <pc:sldMk cId="2772573308" sldId="270"/>
            <ac:spMk id="182" creationId="{00000000-0000-0000-0000-000000000000}"/>
          </ac:spMkLst>
        </pc:spChg>
        <pc:picChg chg="add del mod">
          <ac:chgData name="Adam Muffitt" userId="f87af694dad07f1b" providerId="LiveId" clId="{53D70CAF-C3D1-4333-B799-C2882D553C74}" dt="2020-04-06T17:57:55.770" v="165" actId="478"/>
          <ac:picMkLst>
            <pc:docMk/>
            <pc:sldMk cId="2772573308" sldId="270"/>
            <ac:picMk id="2" creationId="{A569F0BB-0AE7-47E4-BC8A-02F3480E5B72}"/>
          </ac:picMkLst>
        </pc:picChg>
        <pc:picChg chg="add mod">
          <ac:chgData name="Adam Muffitt" userId="f87af694dad07f1b" providerId="LiveId" clId="{53D70CAF-C3D1-4333-B799-C2882D553C74}" dt="2020-04-06T17:58:09.918" v="170" actId="14100"/>
          <ac:picMkLst>
            <pc:docMk/>
            <pc:sldMk cId="2772573308" sldId="270"/>
            <ac:picMk id="3" creationId="{399CBDD6-3539-4A39-80F6-378CCF87808C}"/>
          </ac:picMkLst>
        </pc:picChg>
        <pc:picChg chg="del">
          <ac:chgData name="Adam Muffitt" userId="f87af694dad07f1b" providerId="LiveId" clId="{53D70CAF-C3D1-4333-B799-C2882D553C74}" dt="2020-04-06T17:51:46.332" v="156" actId="478"/>
          <ac:picMkLst>
            <pc:docMk/>
            <pc:sldMk cId="2772573308" sldId="270"/>
            <ac:picMk id="4" creationId="{E40BF31C-690E-4278-91A0-837EA5E1E537}"/>
          </ac:picMkLst>
        </pc:picChg>
        <pc:picChg chg="add mod">
          <ac:chgData name="Adam Muffitt" userId="f87af694dad07f1b" providerId="LiveId" clId="{53D70CAF-C3D1-4333-B799-C2882D553C74}" dt="2020-04-06T18:46:39.066" v="320" actId="208"/>
          <ac:picMkLst>
            <pc:docMk/>
            <pc:sldMk cId="2772573308" sldId="270"/>
            <ac:picMk id="5" creationId="{BE384A67-A50E-4DB9-89AE-0D802EBFEBF0}"/>
          </ac:picMkLst>
        </pc:picChg>
        <pc:picChg chg="del">
          <ac:chgData name="Adam Muffitt" userId="f87af694dad07f1b" providerId="LiveId" clId="{53D70CAF-C3D1-4333-B799-C2882D553C74}" dt="2020-04-06T17:51:46.332" v="156" actId="478"/>
          <ac:picMkLst>
            <pc:docMk/>
            <pc:sldMk cId="2772573308" sldId="270"/>
            <ac:picMk id="7" creationId="{E0F476A0-8434-4CBB-AE8F-E85E2C8F1572}"/>
          </ac:picMkLst>
        </pc:picChg>
        <pc:picChg chg="del">
          <ac:chgData name="Adam Muffitt" userId="f87af694dad07f1b" providerId="LiveId" clId="{53D70CAF-C3D1-4333-B799-C2882D553C74}" dt="2020-04-06T17:51:46.332" v="156" actId="478"/>
          <ac:picMkLst>
            <pc:docMk/>
            <pc:sldMk cId="2772573308" sldId="270"/>
            <ac:picMk id="10" creationId="{B007C6F0-49C1-40C7-9E93-8F3C9423323F}"/>
          </ac:picMkLst>
        </pc:picChg>
        <pc:picChg chg="del">
          <ac:chgData name="Adam Muffitt" userId="f87af694dad07f1b" providerId="LiveId" clId="{53D70CAF-C3D1-4333-B799-C2882D553C74}" dt="2020-04-06T17:51:46.332" v="156" actId="478"/>
          <ac:picMkLst>
            <pc:docMk/>
            <pc:sldMk cId="2772573308" sldId="270"/>
            <ac:picMk id="11" creationId="{2790DB9A-E81F-494A-987C-426D060F0E05}"/>
          </ac:picMkLst>
        </pc:picChg>
        <pc:picChg chg="del">
          <ac:chgData name="Adam Muffitt" userId="f87af694dad07f1b" providerId="LiveId" clId="{53D70CAF-C3D1-4333-B799-C2882D553C74}" dt="2020-04-06T17:51:46.332" v="156" actId="478"/>
          <ac:picMkLst>
            <pc:docMk/>
            <pc:sldMk cId="2772573308" sldId="270"/>
            <ac:picMk id="14" creationId="{5C0FF9C1-85C4-446D-994F-C475CF63F228}"/>
          </ac:picMkLst>
        </pc:picChg>
        <pc:picChg chg="del">
          <ac:chgData name="Adam Muffitt" userId="f87af694dad07f1b" providerId="LiveId" clId="{53D70CAF-C3D1-4333-B799-C2882D553C74}" dt="2020-04-06T17:51:46.332" v="156" actId="478"/>
          <ac:picMkLst>
            <pc:docMk/>
            <pc:sldMk cId="2772573308" sldId="270"/>
            <ac:picMk id="15" creationId="{AA515EDA-DBF1-4F3B-93C0-46C101D3437E}"/>
          </ac:picMkLst>
        </pc:picChg>
        <pc:picChg chg="del">
          <ac:chgData name="Adam Muffitt" userId="f87af694dad07f1b" providerId="LiveId" clId="{53D70CAF-C3D1-4333-B799-C2882D553C74}" dt="2020-04-06T17:51:46.332" v="156" actId="478"/>
          <ac:picMkLst>
            <pc:docMk/>
            <pc:sldMk cId="2772573308" sldId="270"/>
            <ac:picMk id="17" creationId="{51F94EBA-DEB8-4900-AEFF-4F9E27531152}"/>
          </ac:picMkLst>
        </pc:picChg>
        <pc:picChg chg="del">
          <ac:chgData name="Adam Muffitt" userId="f87af694dad07f1b" providerId="LiveId" clId="{53D70CAF-C3D1-4333-B799-C2882D553C74}" dt="2020-04-06T17:51:46.332" v="156" actId="478"/>
          <ac:picMkLst>
            <pc:docMk/>
            <pc:sldMk cId="2772573308" sldId="270"/>
            <ac:picMk id="19" creationId="{3B5DDEA8-DB55-428B-8D9E-633C7C927B95}"/>
          </ac:picMkLst>
        </pc:picChg>
      </pc:sldChg>
      <pc:sldChg chg="addSp delSp modSp mod">
        <pc:chgData name="Adam Muffitt" userId="f87af694dad07f1b" providerId="LiveId" clId="{53D70CAF-C3D1-4333-B799-C2882D553C74}" dt="2020-04-07T03:51:06.741" v="15502" actId="20577"/>
        <pc:sldMkLst>
          <pc:docMk/>
          <pc:sldMk cId="3606184921" sldId="271"/>
        </pc:sldMkLst>
        <pc:spChg chg="add mod">
          <ac:chgData name="Adam Muffitt" userId="f87af694dad07f1b" providerId="LiveId" clId="{53D70CAF-C3D1-4333-B799-C2882D553C74}" dt="2020-04-07T03:06:00.395" v="13724" actId="1076"/>
          <ac:spMkLst>
            <pc:docMk/>
            <pc:sldMk cId="3606184921" sldId="271"/>
            <ac:spMk id="6" creationId="{B77D1D12-6CD7-4569-9329-C2D6F40C476F}"/>
          </ac:spMkLst>
        </pc:spChg>
        <pc:spChg chg="del">
          <ac:chgData name="Adam Muffitt" userId="f87af694dad07f1b" providerId="LiveId" clId="{53D70CAF-C3D1-4333-B799-C2882D553C74}" dt="2020-04-07T02:59:37.744" v="13300" actId="478"/>
          <ac:spMkLst>
            <pc:docMk/>
            <pc:sldMk cId="3606184921" sldId="271"/>
            <ac:spMk id="12" creationId="{C5FAE3A1-E441-4E2A-B3A9-8095234D7BD3}"/>
          </ac:spMkLst>
        </pc:spChg>
        <pc:spChg chg="mod">
          <ac:chgData name="Adam Muffitt" userId="f87af694dad07f1b" providerId="LiveId" clId="{53D70CAF-C3D1-4333-B799-C2882D553C74}" dt="2020-04-07T03:51:06.741" v="15502" actId="20577"/>
          <ac:spMkLst>
            <pc:docMk/>
            <pc:sldMk cId="3606184921" sldId="271"/>
            <ac:spMk id="26" creationId="{2883D11B-1A80-423C-A365-C1D151D250A2}"/>
          </ac:spMkLst>
        </pc:spChg>
        <pc:spChg chg="mod">
          <ac:chgData name="Adam Muffitt" userId="f87af694dad07f1b" providerId="LiveId" clId="{53D70CAF-C3D1-4333-B799-C2882D553C74}" dt="2020-04-07T03:49:08.581" v="15462" actId="20577"/>
          <ac:spMkLst>
            <pc:docMk/>
            <pc:sldMk cId="3606184921" sldId="271"/>
            <ac:spMk id="182" creationId="{00000000-0000-0000-0000-000000000000}"/>
          </ac:spMkLst>
        </pc:spChg>
        <pc:picChg chg="add mod">
          <ac:chgData name="Adam Muffitt" userId="f87af694dad07f1b" providerId="LiveId" clId="{53D70CAF-C3D1-4333-B799-C2882D553C74}" dt="2020-04-06T18:00:41.541" v="185" actId="1076"/>
          <ac:picMkLst>
            <pc:docMk/>
            <pc:sldMk cId="3606184921" sldId="271"/>
            <ac:picMk id="2" creationId="{0DDF84CD-A796-4949-B020-647B10021F0E}"/>
          </ac:picMkLst>
        </pc:picChg>
        <pc:picChg chg="del">
          <ac:chgData name="Adam Muffitt" userId="f87af694dad07f1b" providerId="LiveId" clId="{53D70CAF-C3D1-4333-B799-C2882D553C74}" dt="2020-04-06T18:00:14.785" v="180" actId="478"/>
          <ac:picMkLst>
            <pc:docMk/>
            <pc:sldMk cId="3606184921" sldId="271"/>
            <ac:picMk id="4" creationId="{E40BF31C-690E-4278-91A0-837EA5E1E537}"/>
          </ac:picMkLst>
        </pc:picChg>
        <pc:picChg chg="del">
          <ac:chgData name="Adam Muffitt" userId="f87af694dad07f1b" providerId="LiveId" clId="{53D70CAF-C3D1-4333-B799-C2882D553C74}" dt="2020-04-06T18:00:14.272" v="179" actId="478"/>
          <ac:picMkLst>
            <pc:docMk/>
            <pc:sldMk cId="3606184921" sldId="271"/>
            <ac:picMk id="7" creationId="{E0F476A0-8434-4CBB-AE8F-E85E2C8F1572}"/>
          </ac:picMkLst>
        </pc:picChg>
        <pc:picChg chg="del">
          <ac:chgData name="Adam Muffitt" userId="f87af694dad07f1b" providerId="LiveId" clId="{53D70CAF-C3D1-4333-B799-C2882D553C74}" dt="2020-04-06T18:00:03.505" v="174" actId="478"/>
          <ac:picMkLst>
            <pc:docMk/>
            <pc:sldMk cId="3606184921" sldId="271"/>
            <ac:picMk id="10" creationId="{B007C6F0-49C1-40C7-9E93-8F3C9423323F}"/>
          </ac:picMkLst>
        </pc:picChg>
        <pc:picChg chg="del">
          <ac:chgData name="Adam Muffitt" userId="f87af694dad07f1b" providerId="LiveId" clId="{53D70CAF-C3D1-4333-B799-C2882D553C74}" dt="2020-04-06T18:00:09.154" v="175" actId="478"/>
          <ac:picMkLst>
            <pc:docMk/>
            <pc:sldMk cId="3606184921" sldId="271"/>
            <ac:picMk id="11" creationId="{2790DB9A-E81F-494A-987C-426D060F0E05}"/>
          </ac:picMkLst>
        </pc:picChg>
        <pc:picChg chg="add del mod">
          <ac:chgData name="Adam Muffitt" userId="f87af694dad07f1b" providerId="LiveId" clId="{53D70CAF-C3D1-4333-B799-C2882D553C74}" dt="2020-04-06T18:00:09.154" v="175" actId="478"/>
          <ac:picMkLst>
            <pc:docMk/>
            <pc:sldMk cId="3606184921" sldId="271"/>
            <ac:picMk id="13" creationId="{E89F6E6D-D6C6-40AB-9F3B-66B1F8578538}"/>
          </ac:picMkLst>
        </pc:picChg>
        <pc:picChg chg="del">
          <ac:chgData name="Adam Muffitt" userId="f87af694dad07f1b" providerId="LiveId" clId="{53D70CAF-C3D1-4333-B799-C2882D553C74}" dt="2020-04-06T18:00:09.154" v="175" actId="478"/>
          <ac:picMkLst>
            <pc:docMk/>
            <pc:sldMk cId="3606184921" sldId="271"/>
            <ac:picMk id="14" creationId="{5C0FF9C1-85C4-446D-994F-C475CF63F228}"/>
          </ac:picMkLst>
        </pc:picChg>
        <pc:picChg chg="del">
          <ac:chgData name="Adam Muffitt" userId="f87af694dad07f1b" providerId="LiveId" clId="{53D70CAF-C3D1-4333-B799-C2882D553C74}" dt="2020-04-06T18:00:13.769" v="178" actId="478"/>
          <ac:picMkLst>
            <pc:docMk/>
            <pc:sldMk cId="3606184921" sldId="271"/>
            <ac:picMk id="15" creationId="{AA515EDA-DBF1-4F3B-93C0-46C101D3437E}"/>
          </ac:picMkLst>
        </pc:picChg>
        <pc:picChg chg="add del mod">
          <ac:chgData name="Adam Muffitt" userId="f87af694dad07f1b" providerId="LiveId" clId="{53D70CAF-C3D1-4333-B799-C2882D553C74}" dt="2020-04-06T18:00:09.154" v="175" actId="478"/>
          <ac:picMkLst>
            <pc:docMk/>
            <pc:sldMk cId="3606184921" sldId="271"/>
            <ac:picMk id="16" creationId="{847B2FF0-3B98-494B-BFC3-7ADAAEA8B8CB}"/>
          </ac:picMkLst>
        </pc:picChg>
        <pc:picChg chg="del">
          <ac:chgData name="Adam Muffitt" userId="f87af694dad07f1b" providerId="LiveId" clId="{53D70CAF-C3D1-4333-B799-C2882D553C74}" dt="2020-04-06T18:00:11.270" v="176" actId="478"/>
          <ac:picMkLst>
            <pc:docMk/>
            <pc:sldMk cId="3606184921" sldId="271"/>
            <ac:picMk id="17" creationId="{51F94EBA-DEB8-4900-AEFF-4F9E27531152}"/>
          </ac:picMkLst>
        </pc:picChg>
        <pc:picChg chg="add del mod">
          <ac:chgData name="Adam Muffitt" userId="f87af694dad07f1b" providerId="LiveId" clId="{53D70CAF-C3D1-4333-B799-C2882D553C74}" dt="2020-04-06T18:00:09.154" v="175" actId="478"/>
          <ac:picMkLst>
            <pc:docMk/>
            <pc:sldMk cId="3606184921" sldId="271"/>
            <ac:picMk id="18" creationId="{DD42197E-EFB0-4740-B461-D7DD7EC8F406}"/>
          </ac:picMkLst>
        </pc:picChg>
        <pc:picChg chg="del">
          <ac:chgData name="Adam Muffitt" userId="f87af694dad07f1b" providerId="LiveId" clId="{53D70CAF-C3D1-4333-B799-C2882D553C74}" dt="2020-04-06T18:00:13.134" v="177" actId="478"/>
          <ac:picMkLst>
            <pc:docMk/>
            <pc:sldMk cId="3606184921" sldId="271"/>
            <ac:picMk id="19" creationId="{3B5DDEA8-DB55-428B-8D9E-633C7C927B95}"/>
          </ac:picMkLst>
        </pc:picChg>
        <pc:picChg chg="add del mod">
          <ac:chgData name="Adam Muffitt" userId="f87af694dad07f1b" providerId="LiveId" clId="{53D70CAF-C3D1-4333-B799-C2882D553C74}" dt="2020-04-06T18:00:09.154" v="175" actId="478"/>
          <ac:picMkLst>
            <pc:docMk/>
            <pc:sldMk cId="3606184921" sldId="271"/>
            <ac:picMk id="20" creationId="{F5A22014-5463-4799-8AD0-75F2FF958ABA}"/>
          </ac:picMkLst>
        </pc:picChg>
        <pc:picChg chg="add del mod">
          <ac:chgData name="Adam Muffitt" userId="f87af694dad07f1b" providerId="LiveId" clId="{53D70CAF-C3D1-4333-B799-C2882D553C74}" dt="2020-04-06T18:00:09.154" v="175" actId="478"/>
          <ac:picMkLst>
            <pc:docMk/>
            <pc:sldMk cId="3606184921" sldId="271"/>
            <ac:picMk id="21" creationId="{4AC63897-EF47-4F84-B453-EC808E3B1D1B}"/>
          </ac:picMkLst>
        </pc:picChg>
        <pc:picChg chg="add del mod">
          <ac:chgData name="Adam Muffitt" userId="f87af694dad07f1b" providerId="LiveId" clId="{53D70CAF-C3D1-4333-B799-C2882D553C74}" dt="2020-04-06T18:00:03.505" v="174" actId="478"/>
          <ac:picMkLst>
            <pc:docMk/>
            <pc:sldMk cId="3606184921" sldId="271"/>
            <ac:picMk id="22" creationId="{215E04D9-63CF-48C0-8A49-E1874B093F14}"/>
          </ac:picMkLst>
        </pc:picChg>
        <pc:picChg chg="add del mod">
          <ac:chgData name="Adam Muffitt" userId="f87af694dad07f1b" providerId="LiveId" clId="{53D70CAF-C3D1-4333-B799-C2882D553C74}" dt="2020-04-06T18:00:03.505" v="174" actId="478"/>
          <ac:picMkLst>
            <pc:docMk/>
            <pc:sldMk cId="3606184921" sldId="271"/>
            <ac:picMk id="23" creationId="{9B9642B5-23E6-4E86-B24B-F31B1A783A33}"/>
          </ac:picMkLst>
        </pc:picChg>
        <pc:picChg chg="add del mod">
          <ac:chgData name="Adam Muffitt" userId="f87af694dad07f1b" providerId="LiveId" clId="{53D70CAF-C3D1-4333-B799-C2882D553C74}" dt="2020-04-06T18:00:03.505" v="174" actId="478"/>
          <ac:picMkLst>
            <pc:docMk/>
            <pc:sldMk cId="3606184921" sldId="271"/>
            <ac:picMk id="24" creationId="{A6A7A48D-CDC4-4EC9-BC79-E72F6EE5D80A}"/>
          </ac:picMkLst>
        </pc:picChg>
        <pc:picChg chg="add del mod">
          <ac:chgData name="Adam Muffitt" userId="f87af694dad07f1b" providerId="LiveId" clId="{53D70CAF-C3D1-4333-B799-C2882D553C74}" dt="2020-04-06T18:00:03.505" v="174" actId="478"/>
          <ac:picMkLst>
            <pc:docMk/>
            <pc:sldMk cId="3606184921" sldId="271"/>
            <ac:picMk id="25" creationId="{F54F524D-896E-4DD1-8839-D1F601E3F84A}"/>
          </ac:picMkLst>
        </pc:picChg>
        <pc:picChg chg="add del mod">
          <ac:chgData name="Adam Muffitt" userId="f87af694dad07f1b" providerId="LiveId" clId="{53D70CAF-C3D1-4333-B799-C2882D553C74}" dt="2020-04-06T18:00:03.505" v="174" actId="478"/>
          <ac:picMkLst>
            <pc:docMk/>
            <pc:sldMk cId="3606184921" sldId="271"/>
            <ac:picMk id="27" creationId="{96D80480-C287-46E8-885C-810CA472C6A9}"/>
          </ac:picMkLst>
        </pc:picChg>
        <pc:picChg chg="add del mod">
          <ac:chgData name="Adam Muffitt" userId="f87af694dad07f1b" providerId="LiveId" clId="{53D70CAF-C3D1-4333-B799-C2882D553C74}" dt="2020-04-06T18:00:03.505" v="174" actId="478"/>
          <ac:picMkLst>
            <pc:docMk/>
            <pc:sldMk cId="3606184921" sldId="271"/>
            <ac:picMk id="28" creationId="{80D65E63-8D1E-464A-87F6-9F08781AD8ED}"/>
          </ac:picMkLst>
        </pc:picChg>
        <pc:picChg chg="add del mod">
          <ac:chgData name="Adam Muffitt" userId="f87af694dad07f1b" providerId="LiveId" clId="{53D70CAF-C3D1-4333-B799-C2882D553C74}" dt="2020-04-06T18:00:03.505" v="174" actId="478"/>
          <ac:picMkLst>
            <pc:docMk/>
            <pc:sldMk cId="3606184921" sldId="271"/>
            <ac:picMk id="29" creationId="{BAC1AB15-B018-44C2-96E0-3D4686DA9698}"/>
          </ac:picMkLst>
        </pc:picChg>
      </pc:sldChg>
      <pc:sldChg chg="delSp modSp add del mod">
        <pc:chgData name="Adam Muffitt" userId="f87af694dad07f1b" providerId="LiveId" clId="{53D70CAF-C3D1-4333-B799-C2882D553C74}" dt="2020-04-06T18:49:35.596" v="325" actId="47"/>
        <pc:sldMkLst>
          <pc:docMk/>
          <pc:sldMk cId="1452076232" sldId="272"/>
        </pc:sldMkLst>
        <pc:spChg chg="del">
          <ac:chgData name="Adam Muffitt" userId="f87af694dad07f1b" providerId="LiveId" clId="{53D70CAF-C3D1-4333-B799-C2882D553C74}" dt="2020-04-06T18:49:13.534" v="323" actId="478"/>
          <ac:spMkLst>
            <pc:docMk/>
            <pc:sldMk cId="1452076232" sldId="272"/>
            <ac:spMk id="2" creationId="{4BF249B9-4816-4C34-A057-0F262BE10EF4}"/>
          </ac:spMkLst>
        </pc:spChg>
        <pc:spChg chg="del">
          <ac:chgData name="Adam Muffitt" userId="f87af694dad07f1b" providerId="LiveId" clId="{53D70CAF-C3D1-4333-B799-C2882D553C74}" dt="2020-04-06T18:49:11.462" v="322" actId="478"/>
          <ac:spMkLst>
            <pc:docMk/>
            <pc:sldMk cId="1452076232" sldId="272"/>
            <ac:spMk id="3" creationId="{028AC3FC-CC72-4349-9672-C8ED332D80EC}"/>
          </ac:spMkLst>
        </pc:spChg>
        <pc:spChg chg="mod">
          <ac:chgData name="Adam Muffitt" userId="f87af694dad07f1b" providerId="LiveId" clId="{53D70CAF-C3D1-4333-B799-C2882D553C74}" dt="2020-04-06T18:49:24.719" v="324" actId="20577"/>
          <ac:spMkLst>
            <pc:docMk/>
            <pc:sldMk cId="1452076232" sldId="272"/>
            <ac:spMk id="4" creationId="{533E2604-0964-4B39-A991-8D0E317057ED}"/>
          </ac:spMkLst>
        </pc:spChg>
      </pc:sldChg>
      <pc:sldChg chg="addSp delSp modSp add del mod">
        <pc:chgData name="Adam Muffitt" userId="f87af694dad07f1b" providerId="LiveId" clId="{53D70CAF-C3D1-4333-B799-C2882D553C74}" dt="2020-04-07T02:55:48.731" v="13283" actId="47"/>
        <pc:sldMkLst>
          <pc:docMk/>
          <pc:sldMk cId="2863545523" sldId="272"/>
        </pc:sldMkLst>
        <pc:spChg chg="add del mod">
          <ac:chgData name="Adam Muffitt" userId="f87af694dad07f1b" providerId="LiveId" clId="{53D70CAF-C3D1-4333-B799-C2882D553C74}" dt="2020-04-06T18:49:50.214" v="330" actId="478"/>
          <ac:spMkLst>
            <pc:docMk/>
            <pc:sldMk cId="2863545523" sldId="272"/>
            <ac:spMk id="4" creationId="{CD8E7608-2429-4887-8635-1642E4C04358}"/>
          </ac:spMkLst>
        </pc:spChg>
        <pc:spChg chg="del">
          <ac:chgData name="Adam Muffitt" userId="f87af694dad07f1b" providerId="LiveId" clId="{53D70CAF-C3D1-4333-B799-C2882D553C74}" dt="2020-04-06T18:49:51.931" v="331" actId="478"/>
          <ac:spMkLst>
            <pc:docMk/>
            <pc:sldMk cId="2863545523" sldId="272"/>
            <ac:spMk id="26" creationId="{2883D11B-1A80-423C-A365-C1D151D250A2}"/>
          </ac:spMkLst>
        </pc:spChg>
        <pc:spChg chg="del">
          <ac:chgData name="Adam Muffitt" userId="f87af694dad07f1b" providerId="LiveId" clId="{53D70CAF-C3D1-4333-B799-C2882D553C74}" dt="2020-04-06T18:49:48.327" v="329" actId="478"/>
          <ac:spMkLst>
            <pc:docMk/>
            <pc:sldMk cId="2863545523" sldId="272"/>
            <ac:spMk id="182" creationId="{00000000-0000-0000-0000-000000000000}"/>
          </ac:spMkLst>
        </pc:spChg>
        <pc:picChg chg="add mod">
          <ac:chgData name="Adam Muffitt" userId="f87af694dad07f1b" providerId="LiveId" clId="{53D70CAF-C3D1-4333-B799-C2882D553C74}" dt="2020-04-06T21:35:28.933" v="457" actId="1076"/>
          <ac:picMkLst>
            <pc:docMk/>
            <pc:sldMk cId="2863545523" sldId="272"/>
            <ac:picMk id="2" creationId="{6080B44D-FD91-4DA1-9154-BA989D952EC4}"/>
          </ac:picMkLst>
        </pc:picChg>
        <pc:picChg chg="del">
          <ac:chgData name="Adam Muffitt" userId="f87af694dad07f1b" providerId="LiveId" clId="{53D70CAF-C3D1-4333-B799-C2882D553C74}" dt="2020-04-06T18:49:47.059" v="328" actId="478"/>
          <ac:picMkLst>
            <pc:docMk/>
            <pc:sldMk cId="2863545523" sldId="272"/>
            <ac:picMk id="3" creationId="{399CBDD6-3539-4A39-80F6-378CCF87808C}"/>
          </ac:picMkLst>
        </pc:picChg>
        <pc:picChg chg="del">
          <ac:chgData name="Adam Muffitt" userId="f87af694dad07f1b" providerId="LiveId" clId="{53D70CAF-C3D1-4333-B799-C2882D553C74}" dt="2020-04-06T18:49:43.631" v="327" actId="478"/>
          <ac:picMkLst>
            <pc:docMk/>
            <pc:sldMk cId="2863545523" sldId="272"/>
            <ac:picMk id="5" creationId="{BE384A67-A50E-4DB9-89AE-0D802EBFEBF0}"/>
          </ac:picMkLst>
        </pc:picChg>
        <pc:picChg chg="add del mod">
          <ac:chgData name="Adam Muffitt" userId="f87af694dad07f1b" providerId="LiveId" clId="{53D70CAF-C3D1-4333-B799-C2882D553C74}" dt="2020-04-06T20:54:09.082" v="423" actId="478"/>
          <ac:picMkLst>
            <pc:docMk/>
            <pc:sldMk cId="2863545523" sldId="272"/>
            <ac:picMk id="6" creationId="{7C6308BE-6588-4AB4-827A-DC7FC9B57E57}"/>
          </ac:picMkLst>
        </pc:picChg>
        <pc:picChg chg="add mod">
          <ac:chgData name="Adam Muffitt" userId="f87af694dad07f1b" providerId="LiveId" clId="{53D70CAF-C3D1-4333-B799-C2882D553C74}" dt="2020-04-06T18:52:04.474" v="342" actId="1076"/>
          <ac:picMkLst>
            <pc:docMk/>
            <pc:sldMk cId="2863545523" sldId="272"/>
            <ac:picMk id="7" creationId="{5B1EFB45-CF93-4C4B-8B1A-628BD916B086}"/>
          </ac:picMkLst>
        </pc:picChg>
        <pc:picChg chg="add del mod">
          <ac:chgData name="Adam Muffitt" userId="f87af694dad07f1b" providerId="LiveId" clId="{53D70CAF-C3D1-4333-B799-C2882D553C74}" dt="2020-04-06T18:58:45.480" v="347" actId="478"/>
          <ac:picMkLst>
            <pc:docMk/>
            <pc:sldMk cId="2863545523" sldId="272"/>
            <ac:picMk id="8" creationId="{9FCBF41E-EBFF-4007-98CC-B836819219E9}"/>
          </ac:picMkLst>
        </pc:picChg>
        <pc:picChg chg="add del mod">
          <ac:chgData name="Adam Muffitt" userId="f87af694dad07f1b" providerId="LiveId" clId="{53D70CAF-C3D1-4333-B799-C2882D553C74}" dt="2020-04-06T20:54:02.267" v="422" actId="478"/>
          <ac:picMkLst>
            <pc:docMk/>
            <pc:sldMk cId="2863545523" sldId="272"/>
            <ac:picMk id="9" creationId="{9B4DA92B-BC89-4B91-897F-A1F388BE634A}"/>
          </ac:picMkLst>
        </pc:picChg>
        <pc:picChg chg="add del mod">
          <ac:chgData name="Adam Muffitt" userId="f87af694dad07f1b" providerId="LiveId" clId="{53D70CAF-C3D1-4333-B799-C2882D553C74}" dt="2020-04-06T20:55:02.201" v="429" actId="21"/>
          <ac:picMkLst>
            <pc:docMk/>
            <pc:sldMk cId="2863545523" sldId="272"/>
            <ac:picMk id="10" creationId="{0CBB57C8-E83F-4667-853C-56F7C1A93032}"/>
          </ac:picMkLst>
        </pc:picChg>
      </pc:sldChg>
      <pc:sldChg chg="add del">
        <pc:chgData name="Adam Muffitt" userId="f87af694dad07f1b" providerId="LiveId" clId="{53D70CAF-C3D1-4333-B799-C2882D553C74}" dt="2020-04-06T18:49:54.647" v="333"/>
        <pc:sldMkLst>
          <pc:docMk/>
          <pc:sldMk cId="3771201110" sldId="273"/>
        </pc:sldMkLst>
      </pc:sldChg>
      <pc:sldChg chg="addSp delSp modSp mod ord">
        <pc:chgData name="Adam Muffitt" userId="f87af694dad07f1b" providerId="LiveId" clId="{53D70CAF-C3D1-4333-B799-C2882D553C74}" dt="2020-04-07T03:53:42.535" v="15605" actId="368"/>
        <pc:sldMkLst>
          <pc:docMk/>
          <pc:sldMk cId="3953245949" sldId="273"/>
        </pc:sldMkLst>
        <pc:spChg chg="add del">
          <ac:chgData name="Adam Muffitt" userId="f87af694dad07f1b" providerId="LiveId" clId="{53D70CAF-C3D1-4333-B799-C2882D553C74}" dt="2020-04-07T03:08:42.182" v="13808"/>
          <ac:spMkLst>
            <pc:docMk/>
            <pc:sldMk cId="3953245949" sldId="273"/>
            <ac:spMk id="2" creationId="{120EEFE3-D191-4C41-9CC5-43650F350FA9}"/>
          </ac:spMkLst>
        </pc:spChg>
        <pc:spChg chg="add mod">
          <ac:chgData name="Adam Muffitt" userId="f87af694dad07f1b" providerId="LiveId" clId="{53D70CAF-C3D1-4333-B799-C2882D553C74}" dt="2020-04-07T03:53:42.535" v="15605" actId="368"/>
          <ac:spMkLst>
            <pc:docMk/>
            <pc:sldMk cId="3953245949" sldId="273"/>
            <ac:spMk id="6" creationId="{B3080F19-9481-4BE4-B211-4F16BEABECD2}"/>
          </ac:spMkLst>
        </pc:spChg>
        <pc:spChg chg="add mod">
          <ac:chgData name="Adam Muffitt" userId="f87af694dad07f1b" providerId="LiveId" clId="{53D70CAF-C3D1-4333-B799-C2882D553C74}" dt="2020-04-07T03:51:38.994" v="15509" actId="20577"/>
          <ac:spMkLst>
            <pc:docMk/>
            <pc:sldMk cId="3953245949" sldId="273"/>
            <ac:spMk id="7" creationId="{7471177D-5EC2-488B-8E66-DB9A7AC8B24A}"/>
          </ac:spMkLst>
        </pc:spChg>
        <pc:picChg chg="mod">
          <ac:chgData name="Adam Muffitt" userId="f87af694dad07f1b" providerId="LiveId" clId="{53D70CAF-C3D1-4333-B799-C2882D553C74}" dt="2020-04-07T03:53:28.692" v="15600" actId="1035"/>
          <ac:picMkLst>
            <pc:docMk/>
            <pc:sldMk cId="3953245949" sldId="273"/>
            <ac:picMk id="8" creationId="{83D8614C-2D00-4496-BF06-D9515E49BB3B}"/>
          </ac:picMkLst>
        </pc:picChg>
        <pc:picChg chg="mod">
          <ac:chgData name="Adam Muffitt" userId="f87af694dad07f1b" providerId="LiveId" clId="{53D70CAF-C3D1-4333-B799-C2882D553C74}" dt="2020-04-07T03:53:28.692" v="15600" actId="1035"/>
          <ac:picMkLst>
            <pc:docMk/>
            <pc:sldMk cId="3953245949" sldId="273"/>
            <ac:picMk id="9" creationId="{9B4DA92B-BC89-4B91-897F-A1F388BE634A}"/>
          </ac:picMkLst>
        </pc:picChg>
      </pc:sldChg>
      <pc:sldChg chg="addSp delSp modSp add del mod ord">
        <pc:chgData name="Adam Muffitt" userId="f87af694dad07f1b" providerId="LiveId" clId="{53D70CAF-C3D1-4333-B799-C2882D553C74}" dt="2020-04-06T22:10:50.021" v="2613" actId="47"/>
        <pc:sldMkLst>
          <pc:docMk/>
          <pc:sldMk cId="745580016" sldId="274"/>
        </pc:sldMkLst>
        <pc:spChg chg="del">
          <ac:chgData name="Adam Muffitt" userId="f87af694dad07f1b" providerId="LiveId" clId="{53D70CAF-C3D1-4333-B799-C2882D553C74}" dt="2020-04-06T22:03:16.756" v="1913" actId="478"/>
          <ac:spMkLst>
            <pc:docMk/>
            <pc:sldMk cId="745580016" sldId="274"/>
            <ac:spMk id="2" creationId="{326C274D-2DC0-4AA2-A1A2-190272AFC210}"/>
          </ac:spMkLst>
        </pc:spChg>
        <pc:spChg chg="del">
          <ac:chgData name="Adam Muffitt" userId="f87af694dad07f1b" providerId="LiveId" clId="{53D70CAF-C3D1-4333-B799-C2882D553C74}" dt="2020-04-06T22:03:15.486" v="1912" actId="478"/>
          <ac:spMkLst>
            <pc:docMk/>
            <pc:sldMk cId="745580016" sldId="274"/>
            <ac:spMk id="3" creationId="{A9C0980A-2452-42AF-835E-A1991E8CAAD3}"/>
          </ac:spMkLst>
        </pc:spChg>
        <pc:spChg chg="add del mod">
          <ac:chgData name="Adam Muffitt" userId="f87af694dad07f1b" providerId="LiveId" clId="{53D70CAF-C3D1-4333-B799-C2882D553C74}" dt="2020-04-06T22:03:24.784" v="1916"/>
          <ac:spMkLst>
            <pc:docMk/>
            <pc:sldMk cId="745580016" sldId="274"/>
            <ac:spMk id="5" creationId="{FAE0E06B-3D31-4BCE-BA07-138B020BB868}"/>
          </ac:spMkLst>
        </pc:spChg>
        <pc:spChg chg="add del mod">
          <ac:chgData name="Adam Muffitt" userId="f87af694dad07f1b" providerId="LiveId" clId="{53D70CAF-C3D1-4333-B799-C2882D553C74}" dt="2020-04-06T22:04:04.648" v="1931"/>
          <ac:spMkLst>
            <pc:docMk/>
            <pc:sldMk cId="745580016" sldId="274"/>
            <ac:spMk id="6" creationId="{F4D8701C-B9D0-4DBF-8F07-D133E2E354A8}"/>
          </ac:spMkLst>
        </pc:spChg>
        <pc:spChg chg="add del">
          <ac:chgData name="Adam Muffitt" userId="f87af694dad07f1b" providerId="LiveId" clId="{53D70CAF-C3D1-4333-B799-C2882D553C74}" dt="2020-04-06T22:10:25.848" v="2599" actId="21"/>
          <ac:spMkLst>
            <pc:docMk/>
            <pc:sldMk cId="745580016" sldId="274"/>
            <ac:spMk id="7" creationId="{8E3B5D1A-2DE7-48AC-9181-A04325988FA2}"/>
          </ac:spMkLst>
        </pc:spChg>
      </pc:sldChg>
      <pc:sldChg chg="delSp modSp add del mod">
        <pc:chgData name="Adam Muffitt" userId="f87af694dad07f1b" providerId="LiveId" clId="{53D70CAF-C3D1-4333-B799-C2882D553C74}" dt="2020-04-06T22:04:15.770" v="1933" actId="47"/>
        <pc:sldMkLst>
          <pc:docMk/>
          <pc:sldMk cId="2788270360" sldId="275"/>
        </pc:sldMkLst>
        <pc:spChg chg="mod">
          <ac:chgData name="Adam Muffitt" userId="f87af694dad07f1b" providerId="LiveId" clId="{53D70CAF-C3D1-4333-B799-C2882D553C74}" dt="2020-04-06T22:03:46.565" v="1928" actId="20577"/>
          <ac:spMkLst>
            <pc:docMk/>
            <pc:sldMk cId="2788270360" sldId="275"/>
            <ac:spMk id="182" creationId="{00000000-0000-0000-0000-000000000000}"/>
          </ac:spMkLst>
        </pc:spChg>
        <pc:picChg chg="del">
          <ac:chgData name="Adam Muffitt" userId="f87af694dad07f1b" providerId="LiveId" clId="{53D70CAF-C3D1-4333-B799-C2882D553C74}" dt="2020-04-06T22:03:41.854" v="1920" actId="478"/>
          <ac:picMkLst>
            <pc:docMk/>
            <pc:sldMk cId="2788270360" sldId="275"/>
            <ac:picMk id="9" creationId="{316B1E4D-A3A0-4C1C-9CF0-36B0A61067D6}"/>
          </ac:picMkLst>
        </pc:picChg>
      </pc:sldChg>
      <pc:sldChg chg="addSp delSp modSp add mod">
        <pc:chgData name="Adam Muffitt" userId="f87af694dad07f1b" providerId="LiveId" clId="{53D70CAF-C3D1-4333-B799-C2882D553C74}" dt="2020-04-07T03:37:02.369" v="15210" actId="20577"/>
        <pc:sldMkLst>
          <pc:docMk/>
          <pc:sldMk cId="2794394155" sldId="275"/>
        </pc:sldMkLst>
        <pc:spChg chg="add mod">
          <ac:chgData name="Adam Muffitt" userId="f87af694dad07f1b" providerId="LiveId" clId="{53D70CAF-C3D1-4333-B799-C2882D553C74}" dt="2020-04-07T03:37:02.369" v="15210" actId="20577"/>
          <ac:spMkLst>
            <pc:docMk/>
            <pc:sldMk cId="2794394155" sldId="275"/>
            <ac:spMk id="7" creationId="{410E82F7-3B4B-48BD-8B1A-A038AC63D928}"/>
          </ac:spMkLst>
        </pc:spChg>
        <pc:spChg chg="add del mod">
          <ac:chgData name="Adam Muffitt" userId="f87af694dad07f1b" providerId="LiveId" clId="{53D70CAF-C3D1-4333-B799-C2882D553C74}" dt="2020-04-06T23:21:31.080" v="4311"/>
          <ac:spMkLst>
            <pc:docMk/>
            <pc:sldMk cId="2794394155" sldId="275"/>
            <ac:spMk id="8" creationId="{9BF3A4EE-2ABE-48F2-955C-5CCCE76E3537}"/>
          </ac:spMkLst>
        </pc:spChg>
        <pc:spChg chg="del">
          <ac:chgData name="Adam Muffitt" userId="f87af694dad07f1b" providerId="LiveId" clId="{53D70CAF-C3D1-4333-B799-C2882D553C74}" dt="2020-04-06T22:10:34.026" v="2601" actId="478"/>
          <ac:spMkLst>
            <pc:docMk/>
            <pc:sldMk cId="2794394155" sldId="275"/>
            <ac:spMk id="8" creationId="{C53BD61C-8336-4CFA-B958-0D38FAD398D0}"/>
          </ac:spMkLst>
        </pc:spChg>
        <pc:spChg chg="add mod">
          <ac:chgData name="Adam Muffitt" userId="f87af694dad07f1b" providerId="LiveId" clId="{53D70CAF-C3D1-4333-B799-C2882D553C74}" dt="2020-04-06T23:26:48.276" v="4671" actId="1035"/>
          <ac:spMkLst>
            <pc:docMk/>
            <pc:sldMk cId="2794394155" sldId="275"/>
            <ac:spMk id="9" creationId="{8EE53AD2-F67D-47FC-BAAB-B2E028C269AE}"/>
          </ac:spMkLst>
        </pc:spChg>
        <pc:spChg chg="add del mod">
          <ac:chgData name="Adam Muffitt" userId="f87af694dad07f1b" providerId="LiveId" clId="{53D70CAF-C3D1-4333-B799-C2882D553C74}" dt="2020-04-06T23:16:44.428" v="3795" actId="478"/>
          <ac:spMkLst>
            <pc:docMk/>
            <pc:sldMk cId="2794394155" sldId="275"/>
            <ac:spMk id="10" creationId="{5209588C-8C48-4293-A26A-F533C33FF571}"/>
          </ac:spMkLst>
        </pc:spChg>
        <pc:spChg chg="add mod">
          <ac:chgData name="Adam Muffitt" userId="f87af694dad07f1b" providerId="LiveId" clId="{53D70CAF-C3D1-4333-B799-C2882D553C74}" dt="2020-04-06T23:11:12.676" v="3315" actId="20577"/>
          <ac:spMkLst>
            <pc:docMk/>
            <pc:sldMk cId="2794394155" sldId="275"/>
            <ac:spMk id="11" creationId="{495C28C3-E061-49DB-9A62-E8EA56B8B707}"/>
          </ac:spMkLst>
        </pc:spChg>
        <pc:spChg chg="add mod">
          <ac:chgData name="Adam Muffitt" userId="f87af694dad07f1b" providerId="LiveId" clId="{53D70CAF-C3D1-4333-B799-C2882D553C74}" dt="2020-04-06T23:27:03.464" v="4685" actId="1038"/>
          <ac:spMkLst>
            <pc:docMk/>
            <pc:sldMk cId="2794394155" sldId="275"/>
            <ac:spMk id="14" creationId="{41A5E550-B688-4D52-807A-1AA4913DD251}"/>
          </ac:spMkLst>
        </pc:spChg>
        <pc:spChg chg="add mod">
          <ac:chgData name="Adam Muffitt" userId="f87af694dad07f1b" providerId="LiveId" clId="{53D70CAF-C3D1-4333-B799-C2882D553C74}" dt="2020-04-06T23:27:03.464" v="4685" actId="1038"/>
          <ac:spMkLst>
            <pc:docMk/>
            <pc:sldMk cId="2794394155" sldId="275"/>
            <ac:spMk id="15" creationId="{DAAD19B4-AD5B-49F7-947F-12769FDF227D}"/>
          </ac:spMkLst>
        </pc:spChg>
        <pc:spChg chg="add mod">
          <ac:chgData name="Adam Muffitt" userId="f87af694dad07f1b" providerId="LiveId" clId="{53D70CAF-C3D1-4333-B799-C2882D553C74}" dt="2020-04-06T23:27:03.464" v="4685" actId="1038"/>
          <ac:spMkLst>
            <pc:docMk/>
            <pc:sldMk cId="2794394155" sldId="275"/>
            <ac:spMk id="16" creationId="{5A93DF12-5CD9-48D0-9D11-041AE8CEE55D}"/>
          </ac:spMkLst>
        </pc:spChg>
        <pc:spChg chg="add mod">
          <ac:chgData name="Adam Muffitt" userId="f87af694dad07f1b" providerId="LiveId" clId="{53D70CAF-C3D1-4333-B799-C2882D553C74}" dt="2020-04-06T23:29:18.176" v="4719" actId="1035"/>
          <ac:spMkLst>
            <pc:docMk/>
            <pc:sldMk cId="2794394155" sldId="275"/>
            <ac:spMk id="17" creationId="{D11B1842-7A0E-4ABD-AD7C-4270686146C9}"/>
          </ac:spMkLst>
        </pc:spChg>
        <pc:spChg chg="del">
          <ac:chgData name="Adam Muffitt" userId="f87af694dad07f1b" providerId="LiveId" clId="{53D70CAF-C3D1-4333-B799-C2882D553C74}" dt="2020-04-06T22:10:29.513" v="2600" actId="478"/>
          <ac:spMkLst>
            <pc:docMk/>
            <pc:sldMk cId="2794394155" sldId="275"/>
            <ac:spMk id="26" creationId="{B6A2C6C7-B0DF-4446-8947-FB9951821467}"/>
          </ac:spMkLst>
        </pc:spChg>
        <pc:spChg chg="mod">
          <ac:chgData name="Adam Muffitt" userId="f87af694dad07f1b" providerId="LiveId" clId="{53D70CAF-C3D1-4333-B799-C2882D553C74}" dt="2020-04-06T23:05:54.963" v="2700" actId="20577"/>
          <ac:spMkLst>
            <pc:docMk/>
            <pc:sldMk cId="2794394155" sldId="275"/>
            <ac:spMk id="182" creationId="{00000000-0000-0000-0000-000000000000}"/>
          </ac:spMkLst>
        </pc:spChg>
        <pc:picChg chg="add mod">
          <ac:chgData name="Adam Muffitt" userId="f87af694dad07f1b" providerId="LiveId" clId="{53D70CAF-C3D1-4333-B799-C2882D553C74}" dt="2020-04-06T23:01:27.138" v="2672" actId="1076"/>
          <ac:picMkLst>
            <pc:docMk/>
            <pc:sldMk cId="2794394155" sldId="275"/>
            <ac:picMk id="2" creationId="{56FDFCD1-A88E-41BD-BBB8-8FF364F1AC28}"/>
          </ac:picMkLst>
        </pc:picChg>
        <pc:picChg chg="add mod">
          <ac:chgData name="Adam Muffitt" userId="f87af694dad07f1b" providerId="LiveId" clId="{53D70CAF-C3D1-4333-B799-C2882D553C74}" dt="2020-04-06T23:01:37.817" v="2677" actId="1076"/>
          <ac:picMkLst>
            <pc:docMk/>
            <pc:sldMk cId="2794394155" sldId="275"/>
            <ac:picMk id="3" creationId="{7ECD163D-FA72-4E6D-9AF2-960C36BAEE1C}"/>
          </ac:picMkLst>
        </pc:picChg>
        <pc:picChg chg="add mod">
          <ac:chgData name="Adam Muffitt" userId="f87af694dad07f1b" providerId="LiveId" clId="{53D70CAF-C3D1-4333-B799-C2882D553C74}" dt="2020-04-06T23:05:20.673" v="2696" actId="1076"/>
          <ac:picMkLst>
            <pc:docMk/>
            <pc:sldMk cId="2794394155" sldId="275"/>
            <ac:picMk id="5" creationId="{51BD3C24-71F3-4108-84DC-0593C0347355}"/>
          </ac:picMkLst>
        </pc:picChg>
        <pc:picChg chg="add mod">
          <ac:chgData name="Adam Muffitt" userId="f87af694dad07f1b" providerId="LiveId" clId="{53D70CAF-C3D1-4333-B799-C2882D553C74}" dt="2020-04-06T23:05:16.729" v="2694" actId="14100"/>
          <ac:picMkLst>
            <pc:docMk/>
            <pc:sldMk cId="2794394155" sldId="275"/>
            <ac:picMk id="6" creationId="{63EA74FA-ECF9-417D-9F77-A48AFAACA894}"/>
          </ac:picMkLst>
        </pc:picChg>
        <pc:picChg chg="del">
          <ac:chgData name="Adam Muffitt" userId="f87af694dad07f1b" providerId="LiveId" clId="{53D70CAF-C3D1-4333-B799-C2882D553C74}" dt="2020-04-06T22:10:35.520" v="2602" actId="478"/>
          <ac:picMkLst>
            <pc:docMk/>
            <pc:sldMk cId="2794394155" sldId="275"/>
            <ac:picMk id="9" creationId="{316B1E4D-A3A0-4C1C-9CF0-36B0A61067D6}"/>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20-04-08T12:57:52.239" idx="3">
    <p:pos x="10" y="10"/>
    <p:text>Perfect</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05T17:56:32.101"/>
    </inkml:context>
    <inkml:brush xml:id="br0">
      <inkml:brushProperty name="width" value="0.1" units="cm"/>
      <inkml:brushProperty name="height" value="0.1" units="cm"/>
      <inkml:brushProperty name="color" value="#66CC00"/>
      <inkml:brushProperty name="ignorePressure" value="1"/>
    </inkml:brush>
  </inkml:definitions>
  <inkml:trace contextRef="#ctx0" brushRef="#br0">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05T17:56:32.101"/>
    </inkml:context>
    <inkml:brush xml:id="br0">
      <inkml:brushProperty name="width" value="0.1" units="cm"/>
      <inkml:brushProperty name="height" value="0.1" units="cm"/>
      <inkml:brushProperty name="color" value="#66CC00"/>
      <inkml:brushProperty name="ignorePressure" value="1"/>
    </inkml:brush>
  </inkml:definitions>
  <inkml:trace contextRef="#ctx0" brushRef="#br0">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02F4AE-6A81-4782-BF88-7A1ED3C8D7A5}" type="datetimeFigureOut">
              <a:rPr lang="en-US" smtClean="0"/>
              <a:t>4/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00704A-471A-4741-A7F5-7273A407FB52}" type="slidenum">
              <a:rPr lang="en-US" smtClean="0"/>
              <a:t>‹#›</a:t>
            </a:fld>
            <a:endParaRPr lang="en-US"/>
          </a:p>
        </p:txBody>
      </p:sp>
    </p:spTree>
    <p:extLst>
      <p:ext uri="{BB962C8B-B14F-4D97-AF65-F5344CB8AC3E}">
        <p14:creationId xmlns:p14="http://schemas.microsoft.com/office/powerpoint/2010/main" val="30768984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1229335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4143584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3899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1078180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2816490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1323188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844876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3307059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2509639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469889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Only" type="titleOnly">
  <p:cSld name="1_Title 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5652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9608B-65C9-455F-A0AB-3338777C4A6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902D35-B80E-4BB3-9F16-CC454900C7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70E67D3-5D1D-4106-9C8C-62EB7D327F19}"/>
              </a:ext>
            </a:extLst>
          </p:cNvPr>
          <p:cNvSpPr>
            <a:spLocks noGrp="1"/>
          </p:cNvSpPr>
          <p:nvPr>
            <p:ph type="dt" sz="half" idx="10"/>
          </p:nvPr>
        </p:nvSpPr>
        <p:spPr/>
        <p:txBody>
          <a:bodyPr/>
          <a:lstStyle/>
          <a:p>
            <a:fld id="{DF6BFA7B-0E8B-49E9-BCEB-A9215D3550EE}" type="datetimeFigureOut">
              <a:rPr lang="en-US" smtClean="0"/>
              <a:t>4/8/2020</a:t>
            </a:fld>
            <a:endParaRPr lang="en-US"/>
          </a:p>
        </p:txBody>
      </p:sp>
      <p:sp>
        <p:nvSpPr>
          <p:cNvPr id="5" name="Footer Placeholder 4">
            <a:extLst>
              <a:ext uri="{FF2B5EF4-FFF2-40B4-BE49-F238E27FC236}">
                <a16:creationId xmlns:a16="http://schemas.microsoft.com/office/drawing/2014/main" id="{98DAEE4D-8065-499A-A149-884143973C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36650B-F2D9-4E19-B3B7-DFD820BE0643}"/>
              </a:ext>
            </a:extLst>
          </p:cNvPr>
          <p:cNvSpPr>
            <a:spLocks noGrp="1"/>
          </p:cNvSpPr>
          <p:nvPr>
            <p:ph type="sldNum" sz="quarter" idx="12"/>
          </p:nvPr>
        </p:nvSpPr>
        <p:spPr/>
        <p:txBody>
          <a:bodyPr/>
          <a:lstStyle/>
          <a:p>
            <a:fld id="{E7C215C1-B99E-489F-AB6D-84FE3A54E163}" type="slidenum">
              <a:rPr lang="en-US" smtClean="0"/>
              <a:t>‹#›</a:t>
            </a:fld>
            <a:endParaRPr lang="en-US"/>
          </a:p>
        </p:txBody>
      </p:sp>
    </p:spTree>
    <p:extLst>
      <p:ext uri="{BB962C8B-B14F-4D97-AF65-F5344CB8AC3E}">
        <p14:creationId xmlns:p14="http://schemas.microsoft.com/office/powerpoint/2010/main" val="1396028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p:cSld name="1_Title Slide">
    <p:spTree>
      <p:nvGrpSpPr>
        <p:cNvPr id="1" name="Shape 13"/>
        <p:cNvGrpSpPr/>
        <p:nvPr/>
      </p:nvGrpSpPr>
      <p:grpSpPr>
        <a:xfrm>
          <a:off x="0" y="0"/>
          <a:ext cx="0" cy="0"/>
          <a:chOff x="0" y="0"/>
          <a:chExt cx="0" cy="0"/>
        </a:xfrm>
      </p:grpSpPr>
      <p:sp>
        <p:nvSpPr>
          <p:cNvPr id="14" name="Google Shape;14;p10"/>
          <p:cNvSpPr/>
          <p:nvPr/>
        </p:nvSpPr>
        <p:spPr>
          <a:xfrm>
            <a:off x="0" y="4725057"/>
            <a:ext cx="12192000" cy="2132942"/>
          </a:xfrm>
          <a:prstGeom prst="rect">
            <a:avLst/>
          </a:prstGeom>
          <a:solidFill>
            <a:srgbClr val="F2F2F2"/>
          </a:solidFill>
          <a:ln>
            <a:noFill/>
          </a:ln>
        </p:spPr>
        <p:txBody>
          <a:bodyPr spcFirstLastPara="1" wrap="square" lIns="93282" tIns="46628" rIns="93282" bIns="46628"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32"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026"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317489" y="3545800"/>
            <a:ext cx="10025345" cy="50244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65"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317489" y="4858154"/>
            <a:ext cx="10025345" cy="2198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28">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16"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8812838" y="1"/>
            <a:ext cx="3379162" cy="810253"/>
          </a:xfrm>
          <a:prstGeom prst="rect">
            <a:avLst/>
          </a:prstGeom>
          <a:noFill/>
          <a:ln>
            <a:noFill/>
          </a:ln>
        </p:spPr>
      </p:pic>
    </p:spTree>
    <p:extLst>
      <p:ext uri="{BB962C8B-B14F-4D97-AF65-F5344CB8AC3E}">
        <p14:creationId xmlns:p14="http://schemas.microsoft.com/office/powerpoint/2010/main" val="38576047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3124133" y="2570859"/>
            <a:ext cx="5853024" cy="188193"/>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233261" y="234866"/>
            <a:ext cx="11725486" cy="228973"/>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11797359" y="6635263"/>
            <a:ext cx="161386" cy="120033"/>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8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764"/>
                <a:buFont typeface="Arial"/>
                <a:buNone/>
              </a:pPr>
              <a:t>‹#›</a:t>
            </a:fld>
            <a:endParaRPr sz="780" b="0" i="0" u="none" strike="noStrike" cap="none">
              <a:solidFill>
                <a:schemeClr val="dk1"/>
              </a:solidFill>
              <a:latin typeface="Arial"/>
              <a:ea typeface="Arial"/>
              <a:cs typeface="Arial"/>
              <a:sym typeface="Arial"/>
            </a:endParaRPr>
          </a:p>
        </p:txBody>
      </p:sp>
      <p:cxnSp>
        <p:nvCxnSpPr>
          <p:cNvPr id="28" name="Google Shape;28;p12"/>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294880314"/>
      </p:ext>
    </p:extLst>
  </p:cSld>
  <p:clrMap bg1="lt1" tx1="dk1" bg2="dk2" tx2="lt2" accent1="accent1" accent2="accent2" accent3="accent3" accent4="accent4" accent5="accent5" accent6="accent6" hlink="hlink" folHlink="folHlink"/>
  <p:sldLayoutIdLst>
    <p:sldLayoutId id="2147483661" r:id="rId1"/>
    <p:sldLayoutId id="2147483664" r:id="rId2"/>
    <p:sldLayoutId id="214748366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comments" Target="../comments/commen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2.xml"/><Relationship Id="rId20" Type="http://schemas.openxmlformats.org/officeDocument/2006/relationships/image" Target="../media/image4.png"/><Relationship Id="rId1" Type="http://schemas.openxmlformats.org/officeDocument/2006/relationships/slideLayout" Target="../slideLayouts/slideLayout1.xml"/><Relationship Id="rId19"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customXml" Target="../ink/ink2.xml"/><Relationship Id="rId21" Type="http://schemas.openxmlformats.org/officeDocument/2006/relationships/image" Target="../media/image6.png"/><Relationship Id="rId2" Type="http://schemas.openxmlformats.org/officeDocument/2006/relationships/notesSlide" Target="../notesSlides/notesSlide3.xml"/><Relationship Id="rId20" Type="http://schemas.openxmlformats.org/officeDocument/2006/relationships/image" Target="../media/image5.png"/><Relationship Id="rId1" Type="http://schemas.openxmlformats.org/officeDocument/2006/relationships/slideLayout" Target="../slideLayouts/slideLayout1.xml"/><Relationship Id="rId23" Type="http://schemas.openxmlformats.org/officeDocument/2006/relationships/image" Target="../media/image8.png"/><Relationship Id="rId19" Type="http://schemas.openxmlformats.org/officeDocument/2006/relationships/image" Target="../media/image12.png"/><Relationship Id="rId22"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0.gi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90393" y="2221893"/>
            <a:ext cx="11627068" cy="1723549"/>
          </a:xfrm>
          <a:prstGeom prst="rect">
            <a:avLst/>
          </a:prstGeom>
          <a:noFill/>
          <a:ln>
            <a:noFill/>
          </a:ln>
        </p:spPr>
        <p:txBody>
          <a:bodyPr spcFirstLastPara="1" wrap="square" lIns="0" tIns="0" rIns="0" bIns="0" anchor="t" anchorCtr="0">
            <a:spAutoFit/>
          </a:bodyPr>
          <a:lstStyle/>
          <a:p>
            <a:r>
              <a:rPr lang="en-US" sz="2800" dirty="0">
                <a:solidFill>
                  <a:schemeClr val="tx1"/>
                </a:solidFill>
              </a:rPr>
              <a:t>Springboard Data Analytics Program</a:t>
            </a:r>
            <a:br>
              <a:rPr lang="en-US" sz="2800" dirty="0">
                <a:solidFill>
                  <a:schemeClr val="tx1"/>
                </a:solidFill>
              </a:rPr>
            </a:br>
            <a:r>
              <a:rPr lang="en-US" sz="2800" dirty="0">
                <a:solidFill>
                  <a:schemeClr val="tx1"/>
                </a:solidFill>
              </a:rPr>
              <a:t>Capstone 2 Project </a:t>
            </a:r>
            <a:br>
              <a:rPr lang="en-US" sz="2800" dirty="0">
                <a:solidFill>
                  <a:schemeClr val="tx1"/>
                </a:solidFill>
              </a:rPr>
            </a:br>
            <a:r>
              <a:rPr lang="en-US" sz="2800" dirty="0">
                <a:solidFill>
                  <a:schemeClr val="tx1"/>
                </a:solidFill>
              </a:rPr>
              <a:t> </a:t>
            </a:r>
            <a:br>
              <a:rPr lang="en-US" sz="2800" dirty="0">
                <a:solidFill>
                  <a:schemeClr val="tx1"/>
                </a:solidFill>
              </a:rPr>
            </a:br>
            <a:r>
              <a:rPr lang="en-US" sz="2800" dirty="0">
                <a:solidFill>
                  <a:schemeClr val="tx1"/>
                </a:solidFill>
              </a:rPr>
              <a:t>Video Game Market Data for 1995-2016 Using Python and Tableau</a:t>
            </a:r>
            <a:endParaRPr sz="2800" dirty="0">
              <a:solidFill>
                <a:schemeClr val="tx1"/>
              </a:solidFill>
            </a:endParaRPr>
          </a:p>
        </p:txBody>
      </p:sp>
      <p:sp>
        <p:nvSpPr>
          <p:cNvPr id="43" name="Google Shape;43;p1"/>
          <p:cNvSpPr txBox="1"/>
          <p:nvPr/>
        </p:nvSpPr>
        <p:spPr>
          <a:xfrm>
            <a:off x="90393" y="5575191"/>
            <a:ext cx="4678723" cy="307777"/>
          </a:xfrm>
          <a:prstGeom prst="rect">
            <a:avLst/>
          </a:prstGeom>
          <a:noFill/>
          <a:ln>
            <a:noFill/>
          </a:ln>
        </p:spPr>
        <p:txBody>
          <a:bodyPr spcFirstLastPara="1" wrap="square" lIns="0" tIns="0" rIns="0" bIns="0" anchor="t" anchorCtr="0">
            <a:spAutoFit/>
          </a:bodyPr>
          <a:lstStyle/>
          <a:p>
            <a:pPr>
              <a:buClr>
                <a:srgbClr val="000000"/>
              </a:buClr>
              <a:buSzPts val="1400"/>
            </a:pPr>
            <a:r>
              <a:rPr lang="en-US" sz="2000" b="1" dirty="0">
                <a:solidFill>
                  <a:schemeClr val="dk1"/>
                </a:solidFill>
                <a:latin typeface="Arial"/>
                <a:ea typeface="Arial"/>
                <a:cs typeface="Arial"/>
                <a:sym typeface="Arial"/>
              </a:rPr>
              <a:t>Presenter: Adam Muffitt	</a:t>
            </a:r>
            <a:endParaRPr sz="2000" b="1" dirty="0">
              <a:solidFill>
                <a:srgbClr val="000000"/>
              </a:solidFill>
              <a:latin typeface="Arial"/>
              <a:ea typeface="Arial"/>
              <a:cs typeface="Arial"/>
              <a:sym typeface="Arial"/>
            </a:endParaRPr>
          </a:p>
        </p:txBody>
      </p:sp>
      <p:sp>
        <p:nvSpPr>
          <p:cNvPr id="2" name="Rectangle 1">
            <a:extLst>
              <a:ext uri="{FF2B5EF4-FFF2-40B4-BE49-F238E27FC236}">
                <a16:creationId xmlns:a16="http://schemas.microsoft.com/office/drawing/2014/main" id="{8EBC0AFA-B4DD-4E70-B52F-488847564BBE}"/>
              </a:ext>
            </a:extLst>
          </p:cNvPr>
          <p:cNvSpPr/>
          <p:nvPr/>
        </p:nvSpPr>
        <p:spPr>
          <a:xfrm>
            <a:off x="8108394" y="1"/>
            <a:ext cx="2559337" cy="853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3" name="Rectangle 2">
            <a:extLst>
              <a:ext uri="{FF2B5EF4-FFF2-40B4-BE49-F238E27FC236}">
                <a16:creationId xmlns:a16="http://schemas.microsoft.com/office/drawing/2014/main" id="{BC9526B5-5C38-45C7-B7AA-BCA569803B03}"/>
              </a:ext>
            </a:extLst>
          </p:cNvPr>
          <p:cNvSpPr/>
          <p:nvPr/>
        </p:nvSpPr>
        <p:spPr>
          <a:xfrm>
            <a:off x="10414304" y="142362"/>
            <a:ext cx="1675488" cy="952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microscope, indoor, items, table&#10;&#10;Description automatically generated">
            <a:extLst>
              <a:ext uri="{FF2B5EF4-FFF2-40B4-BE49-F238E27FC236}">
                <a16:creationId xmlns:a16="http://schemas.microsoft.com/office/drawing/2014/main" id="{832D7DAA-9E3D-482B-A7D8-3303CD6853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8121" y="48690"/>
            <a:ext cx="4067175" cy="280035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80125" y="313141"/>
            <a:ext cx="11851815" cy="502317"/>
          </a:xfrm>
          <a:prstGeom prst="rect">
            <a:avLst/>
          </a:prstGeom>
          <a:noFill/>
          <a:ln>
            <a:noFill/>
          </a:ln>
        </p:spPr>
        <p:txBody>
          <a:bodyPr spcFirstLastPara="1" wrap="square" lIns="0" tIns="0" rIns="0" bIns="0" anchor="t" anchorCtr="0">
            <a:spAutoFit/>
          </a:bodyPr>
          <a:lstStyle/>
          <a:p>
            <a:r>
              <a:rPr lang="en-US" sz="1632" dirty="0">
                <a:solidFill>
                  <a:srgbClr val="002060"/>
                </a:solidFill>
              </a:rPr>
              <a:t>Showing video game information by genre and ESRB rating gives useful insight to customers interested in (or wanting to exclude) certain content in games.</a:t>
            </a:r>
            <a:endParaRPr sz="1632" dirty="0">
              <a:solidFill>
                <a:srgbClr val="002060"/>
              </a:solidFill>
            </a:endParaRPr>
          </a:p>
        </p:txBody>
      </p:sp>
      <p:pic>
        <p:nvPicPr>
          <p:cNvPr id="2" name="Picture 1">
            <a:extLst>
              <a:ext uri="{FF2B5EF4-FFF2-40B4-BE49-F238E27FC236}">
                <a16:creationId xmlns:a16="http://schemas.microsoft.com/office/drawing/2014/main" id="{4036832E-7740-41EA-B725-777D59824E8F}"/>
              </a:ext>
            </a:extLst>
          </p:cNvPr>
          <p:cNvPicPr>
            <a:picLocks noChangeAspect="1"/>
          </p:cNvPicPr>
          <p:nvPr/>
        </p:nvPicPr>
        <p:blipFill>
          <a:blip r:embed="rId3"/>
          <a:stretch>
            <a:fillRect/>
          </a:stretch>
        </p:blipFill>
        <p:spPr>
          <a:xfrm>
            <a:off x="3660021" y="4093828"/>
            <a:ext cx="3670816" cy="2742564"/>
          </a:xfrm>
          <a:prstGeom prst="rect">
            <a:avLst/>
          </a:prstGeom>
          <a:ln>
            <a:solidFill>
              <a:schemeClr val="tx1"/>
            </a:solidFill>
          </a:ln>
        </p:spPr>
      </p:pic>
      <p:pic>
        <p:nvPicPr>
          <p:cNvPr id="3" name="Picture 2">
            <a:extLst>
              <a:ext uri="{FF2B5EF4-FFF2-40B4-BE49-F238E27FC236}">
                <a16:creationId xmlns:a16="http://schemas.microsoft.com/office/drawing/2014/main" id="{061A3428-C3A7-4B1A-8A1C-B847AA9DD983}"/>
              </a:ext>
            </a:extLst>
          </p:cNvPr>
          <p:cNvPicPr>
            <a:picLocks noChangeAspect="1"/>
          </p:cNvPicPr>
          <p:nvPr/>
        </p:nvPicPr>
        <p:blipFill>
          <a:blip r:embed="rId4"/>
          <a:stretch>
            <a:fillRect/>
          </a:stretch>
        </p:blipFill>
        <p:spPr>
          <a:xfrm>
            <a:off x="3816768" y="943251"/>
            <a:ext cx="3347431" cy="3068478"/>
          </a:xfrm>
          <a:prstGeom prst="rect">
            <a:avLst/>
          </a:prstGeom>
        </p:spPr>
      </p:pic>
      <p:pic>
        <p:nvPicPr>
          <p:cNvPr id="7" name="Picture 6">
            <a:extLst>
              <a:ext uri="{FF2B5EF4-FFF2-40B4-BE49-F238E27FC236}">
                <a16:creationId xmlns:a16="http://schemas.microsoft.com/office/drawing/2014/main" id="{7EA857E4-CF6E-444E-A452-68948A2BC13D}"/>
              </a:ext>
            </a:extLst>
          </p:cNvPr>
          <p:cNvPicPr>
            <a:picLocks noChangeAspect="1"/>
          </p:cNvPicPr>
          <p:nvPr/>
        </p:nvPicPr>
        <p:blipFill>
          <a:blip r:embed="rId5"/>
          <a:stretch>
            <a:fillRect/>
          </a:stretch>
        </p:blipFill>
        <p:spPr>
          <a:xfrm>
            <a:off x="7601568" y="1668225"/>
            <a:ext cx="4482606" cy="3813663"/>
          </a:xfrm>
          <a:prstGeom prst="rect">
            <a:avLst/>
          </a:prstGeom>
          <a:ln>
            <a:solidFill>
              <a:schemeClr val="tx1"/>
            </a:solidFill>
          </a:ln>
        </p:spPr>
      </p:pic>
      <p:cxnSp>
        <p:nvCxnSpPr>
          <p:cNvPr id="5" name="Straight Connector 4">
            <a:extLst>
              <a:ext uri="{FF2B5EF4-FFF2-40B4-BE49-F238E27FC236}">
                <a16:creationId xmlns:a16="http://schemas.microsoft.com/office/drawing/2014/main" id="{C0A8329D-C5FB-4CF3-A564-3F67A420F10D}"/>
              </a:ext>
            </a:extLst>
          </p:cNvPr>
          <p:cNvCxnSpPr>
            <a:cxnSpLocks/>
          </p:cNvCxnSpPr>
          <p:nvPr/>
        </p:nvCxnSpPr>
        <p:spPr>
          <a:xfrm>
            <a:off x="7466202" y="960029"/>
            <a:ext cx="0" cy="582666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4B2BBAF-4C83-4A18-8152-10FC29204A9E}"/>
              </a:ext>
            </a:extLst>
          </p:cNvPr>
          <p:cNvSpPr txBox="1"/>
          <p:nvPr/>
        </p:nvSpPr>
        <p:spPr>
          <a:xfrm>
            <a:off x="4206409" y="3847607"/>
            <a:ext cx="2541080" cy="246221"/>
          </a:xfrm>
          <a:prstGeom prst="rect">
            <a:avLst/>
          </a:prstGeom>
          <a:noFill/>
        </p:spPr>
        <p:txBody>
          <a:bodyPr wrap="none" rtlCol="0">
            <a:spAutoFit/>
          </a:bodyPr>
          <a:lstStyle/>
          <a:p>
            <a:r>
              <a:rPr lang="en-US" sz="1000" b="1" dirty="0"/>
              <a:t>“Heatmap” of Regional Sales by Genre</a:t>
            </a:r>
          </a:p>
        </p:txBody>
      </p:sp>
      <p:sp>
        <p:nvSpPr>
          <p:cNvPr id="14" name="TextBox 13">
            <a:extLst>
              <a:ext uri="{FF2B5EF4-FFF2-40B4-BE49-F238E27FC236}">
                <a16:creationId xmlns:a16="http://schemas.microsoft.com/office/drawing/2014/main" id="{4576DB0C-A726-40B2-A516-D4BE624B1696}"/>
              </a:ext>
            </a:extLst>
          </p:cNvPr>
          <p:cNvSpPr txBox="1"/>
          <p:nvPr/>
        </p:nvSpPr>
        <p:spPr>
          <a:xfrm>
            <a:off x="8550820" y="1269461"/>
            <a:ext cx="2993127" cy="246221"/>
          </a:xfrm>
          <a:prstGeom prst="rect">
            <a:avLst/>
          </a:prstGeom>
          <a:noFill/>
        </p:spPr>
        <p:txBody>
          <a:bodyPr wrap="none" rtlCol="0">
            <a:spAutoFit/>
          </a:bodyPr>
          <a:lstStyle/>
          <a:p>
            <a:r>
              <a:rPr lang="en-US" sz="1000" b="1" dirty="0"/>
              <a:t>Global Yearly Sales of Games by ESRB Rating</a:t>
            </a:r>
          </a:p>
        </p:txBody>
      </p:sp>
      <p:sp>
        <p:nvSpPr>
          <p:cNvPr id="15" name="Rectangle 14">
            <a:extLst>
              <a:ext uri="{FF2B5EF4-FFF2-40B4-BE49-F238E27FC236}">
                <a16:creationId xmlns:a16="http://schemas.microsoft.com/office/drawing/2014/main" id="{E0CDB961-476E-450A-81D5-3C83E87D8E5D}"/>
              </a:ext>
            </a:extLst>
          </p:cNvPr>
          <p:cNvSpPr/>
          <p:nvPr/>
        </p:nvSpPr>
        <p:spPr>
          <a:xfrm>
            <a:off x="216672" y="1628631"/>
            <a:ext cx="3026639" cy="4747001"/>
          </a:xfrm>
          <a:prstGeom prst="rect">
            <a:avLst/>
          </a:prstGeom>
          <a:noFill/>
          <a:ln w="222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C462387-B7A2-4B4C-9A7B-9657312EEF78}"/>
              </a:ext>
            </a:extLst>
          </p:cNvPr>
          <p:cNvSpPr txBox="1"/>
          <p:nvPr/>
        </p:nvSpPr>
        <p:spPr>
          <a:xfrm>
            <a:off x="288055" y="1695124"/>
            <a:ext cx="2955256" cy="3785652"/>
          </a:xfrm>
          <a:prstGeom prst="rect">
            <a:avLst/>
          </a:prstGeom>
          <a:noFill/>
        </p:spPr>
        <p:txBody>
          <a:bodyPr wrap="square" rtlCol="0">
            <a:spAutoFit/>
          </a:bodyPr>
          <a:lstStyle/>
          <a:p>
            <a:pPr marL="285750" indent="-285750">
              <a:buFont typeface="Arial" panose="020B0604020202020204" pitchFamily="34" charset="0"/>
              <a:buChar char="•"/>
            </a:pPr>
            <a:r>
              <a:rPr lang="en-US" sz="1200" dirty="0"/>
              <a:t>Action and Sports genres appear highest from a release volume standpoint as well as regional sales across all regions with Strategy and Puzzle showing the lowest. </a:t>
            </a:r>
            <a:br>
              <a:rPr lang="en-US" sz="1200" dirty="0"/>
            </a:br>
            <a:br>
              <a:rPr lang="en-US" sz="1200" dirty="0"/>
            </a:br>
            <a:r>
              <a:rPr lang="en-US" sz="1200" dirty="0"/>
              <a:t>An interesting callout from the data is the Role-Playing genre for Japanese Sales - by far the highest in that region indicating Japanese gamers often favor Role-Playing games more than other genre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When looking at game ESRB (Entertainment Software Rating Board) rated games, ‘Mature’ rated games sales proportions have been increasing since 2011 while 'Everyone' rated games have been decreasing in proportion.</a:t>
            </a:r>
            <a:endParaRPr lang="en-US" dirty="0"/>
          </a:p>
        </p:txBody>
      </p:sp>
      <p:sp>
        <p:nvSpPr>
          <p:cNvPr id="19" name="Google Shape;77;p8">
            <a:extLst>
              <a:ext uri="{FF2B5EF4-FFF2-40B4-BE49-F238E27FC236}">
                <a16:creationId xmlns:a16="http://schemas.microsoft.com/office/drawing/2014/main" id="{CCA2E1F2-2CCA-41E9-991D-36C95698524C}"/>
              </a:ext>
            </a:extLst>
          </p:cNvPr>
          <p:cNvSpPr/>
          <p:nvPr/>
        </p:nvSpPr>
        <p:spPr>
          <a:xfrm>
            <a:off x="10389653" y="564299"/>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8803836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80125" y="313141"/>
            <a:ext cx="11851815" cy="502317"/>
          </a:xfrm>
          <a:prstGeom prst="rect">
            <a:avLst/>
          </a:prstGeom>
          <a:noFill/>
          <a:ln>
            <a:noFill/>
          </a:ln>
        </p:spPr>
        <p:txBody>
          <a:bodyPr spcFirstLastPara="1" wrap="square" lIns="0" tIns="0" rIns="0" bIns="0" anchor="t" anchorCtr="0">
            <a:spAutoFit/>
          </a:bodyPr>
          <a:lstStyle/>
          <a:p>
            <a:r>
              <a:rPr lang="en-US" sz="1632" dirty="0">
                <a:solidFill>
                  <a:srgbClr val="002060"/>
                </a:solidFill>
              </a:rPr>
              <a:t>Overall game sales and scores appear to have a slight (but not strong) positive relationship, while critic and user scores are more directionally similar. </a:t>
            </a:r>
            <a:endParaRPr sz="1632" dirty="0">
              <a:solidFill>
                <a:srgbClr val="002060"/>
              </a:solidFill>
            </a:endParaRPr>
          </a:p>
        </p:txBody>
      </p:sp>
      <p:sp>
        <p:nvSpPr>
          <p:cNvPr id="26" name="TextBox 25">
            <a:extLst>
              <a:ext uri="{FF2B5EF4-FFF2-40B4-BE49-F238E27FC236}">
                <a16:creationId xmlns:a16="http://schemas.microsoft.com/office/drawing/2014/main" id="{2883D11B-1A80-423C-A365-C1D151D250A2}"/>
              </a:ext>
            </a:extLst>
          </p:cNvPr>
          <p:cNvSpPr txBox="1"/>
          <p:nvPr/>
        </p:nvSpPr>
        <p:spPr>
          <a:xfrm>
            <a:off x="462313" y="1497323"/>
            <a:ext cx="3883184" cy="6340197"/>
          </a:xfrm>
          <a:prstGeom prst="rect">
            <a:avLst/>
          </a:prstGeom>
          <a:noFill/>
        </p:spPr>
        <p:txBody>
          <a:bodyPr wrap="square" rtlCol="0">
            <a:spAutoFit/>
          </a:bodyPr>
          <a:lstStyle/>
          <a:p>
            <a:pPr marL="285750" indent="-285750">
              <a:buFont typeface="Arial" panose="020B0604020202020204" pitchFamily="34" charset="0"/>
              <a:buChar char="•"/>
            </a:pPr>
            <a:r>
              <a:rPr lang="en-US" sz="1400" dirty="0"/>
              <a:t>Overall, scores likely aren't a strong predictor of sales (and vice versa) by themselv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User and critic scores have a stronger positive relationship. It's reasonable that often user and critic scores move similarly when reviewing video games, but there are enough instances of them behaving differently for the relationship to not be considered ‘very strong’.</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User scores are slightly higher on average overall than critic scores when looking at the entire dataset though that will of course vary by each gam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he highest selling games don't have very low scores and usually have higher than average scores. There are a few more individual cases of higher selling games with lower user scores than lower critic scor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p:txBody>
      </p:sp>
      <p:pic>
        <p:nvPicPr>
          <p:cNvPr id="2" name="Picture 1">
            <a:extLst>
              <a:ext uri="{FF2B5EF4-FFF2-40B4-BE49-F238E27FC236}">
                <a16:creationId xmlns:a16="http://schemas.microsoft.com/office/drawing/2014/main" id="{0DDF84CD-A796-4949-B020-647B10021F0E}"/>
              </a:ext>
            </a:extLst>
          </p:cNvPr>
          <p:cNvPicPr>
            <a:picLocks noChangeAspect="1"/>
          </p:cNvPicPr>
          <p:nvPr/>
        </p:nvPicPr>
        <p:blipFill>
          <a:blip r:embed="rId3"/>
          <a:stretch>
            <a:fillRect/>
          </a:stretch>
        </p:blipFill>
        <p:spPr>
          <a:xfrm>
            <a:off x="5287930" y="1035318"/>
            <a:ext cx="6820827" cy="5322118"/>
          </a:xfrm>
          <a:prstGeom prst="rect">
            <a:avLst/>
          </a:prstGeom>
          <a:ln>
            <a:solidFill>
              <a:schemeClr val="tx1"/>
            </a:solidFill>
          </a:ln>
        </p:spPr>
      </p:pic>
      <p:sp>
        <p:nvSpPr>
          <p:cNvPr id="6" name="Google Shape;77;p8">
            <a:extLst>
              <a:ext uri="{FF2B5EF4-FFF2-40B4-BE49-F238E27FC236}">
                <a16:creationId xmlns:a16="http://schemas.microsoft.com/office/drawing/2014/main" id="{B77D1D12-6CD7-4569-9329-C2D6F40C476F}"/>
              </a:ext>
            </a:extLst>
          </p:cNvPr>
          <p:cNvSpPr/>
          <p:nvPr/>
        </p:nvSpPr>
        <p:spPr>
          <a:xfrm>
            <a:off x="9916751" y="6483446"/>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6061849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2" name="Google Shape;77;p8">
            <a:extLst>
              <a:ext uri="{FF2B5EF4-FFF2-40B4-BE49-F238E27FC236}">
                <a16:creationId xmlns:a16="http://schemas.microsoft.com/office/drawing/2014/main" id="{C5FAE3A1-E441-4E2A-B3A9-8095234D7BD3}"/>
              </a:ext>
            </a:extLst>
          </p:cNvPr>
          <p:cNvSpPr/>
          <p:nvPr/>
        </p:nvSpPr>
        <p:spPr>
          <a:xfrm>
            <a:off x="10075044" y="571325"/>
            <a:ext cx="2033713"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ing County WA May 2014-May 2015 Housing Data (Kaggle)</a:t>
            </a:r>
            <a:endParaRPr sz="700" b="0" i="0" u="none" strike="noStrike" cap="none" dirty="0">
              <a:solidFill>
                <a:srgbClr val="000000"/>
              </a:solidFill>
              <a:latin typeface="Arial"/>
              <a:ea typeface="Arial"/>
              <a:cs typeface="Arial"/>
              <a:sym typeface="Arial"/>
            </a:endParaRPr>
          </a:p>
        </p:txBody>
      </p:sp>
      <p:pic>
        <p:nvPicPr>
          <p:cNvPr id="9" name="Picture 8">
            <a:extLst>
              <a:ext uri="{FF2B5EF4-FFF2-40B4-BE49-F238E27FC236}">
                <a16:creationId xmlns:a16="http://schemas.microsoft.com/office/drawing/2014/main" id="{9B4DA92B-BC89-4B91-897F-A1F388BE634A}"/>
              </a:ext>
            </a:extLst>
          </p:cNvPr>
          <p:cNvPicPr>
            <a:picLocks noChangeAspect="1"/>
          </p:cNvPicPr>
          <p:nvPr/>
        </p:nvPicPr>
        <p:blipFill>
          <a:blip r:embed="rId3"/>
          <a:stretch>
            <a:fillRect/>
          </a:stretch>
        </p:blipFill>
        <p:spPr>
          <a:xfrm>
            <a:off x="4824317" y="1028039"/>
            <a:ext cx="7074168" cy="4349303"/>
          </a:xfrm>
          <a:prstGeom prst="rect">
            <a:avLst/>
          </a:prstGeom>
          <a:ln>
            <a:solidFill>
              <a:schemeClr val="tx1"/>
            </a:solidFill>
          </a:ln>
        </p:spPr>
      </p:pic>
      <p:pic>
        <p:nvPicPr>
          <p:cNvPr id="8" name="Picture 7">
            <a:extLst>
              <a:ext uri="{FF2B5EF4-FFF2-40B4-BE49-F238E27FC236}">
                <a16:creationId xmlns:a16="http://schemas.microsoft.com/office/drawing/2014/main" id="{83D8614C-2D00-4496-BF06-D9515E49BB3B}"/>
              </a:ext>
            </a:extLst>
          </p:cNvPr>
          <p:cNvPicPr>
            <a:picLocks noChangeAspect="1"/>
          </p:cNvPicPr>
          <p:nvPr/>
        </p:nvPicPr>
        <p:blipFill>
          <a:blip r:embed="rId4"/>
          <a:stretch>
            <a:fillRect/>
          </a:stretch>
        </p:blipFill>
        <p:spPr>
          <a:xfrm>
            <a:off x="77774" y="1053206"/>
            <a:ext cx="4547118" cy="4349303"/>
          </a:xfrm>
          <a:prstGeom prst="rect">
            <a:avLst/>
          </a:prstGeom>
          <a:ln>
            <a:solidFill>
              <a:schemeClr val="tx1"/>
            </a:solidFill>
          </a:ln>
        </p:spPr>
      </p:pic>
      <p:sp>
        <p:nvSpPr>
          <p:cNvPr id="6" name="TextBox 5">
            <a:extLst>
              <a:ext uri="{FF2B5EF4-FFF2-40B4-BE49-F238E27FC236}">
                <a16:creationId xmlns:a16="http://schemas.microsoft.com/office/drawing/2014/main" id="{B3080F19-9481-4BE4-B211-4F16BEABECD2}"/>
              </a:ext>
            </a:extLst>
          </p:cNvPr>
          <p:cNvSpPr txBox="1"/>
          <p:nvPr/>
        </p:nvSpPr>
        <p:spPr>
          <a:xfrm>
            <a:off x="235034" y="5444834"/>
            <a:ext cx="11336038" cy="1384995"/>
          </a:xfrm>
          <a:prstGeom prst="rect">
            <a:avLst/>
          </a:prstGeom>
          <a:noFill/>
          <a:ln w="19050">
            <a:solidFill>
              <a:schemeClr val="tx1"/>
            </a:solidFill>
            <a:prstDash val="dash"/>
          </a:ln>
        </p:spPr>
        <p:txBody>
          <a:bodyPr wrap="square" rtlCol="0">
            <a:spAutoFit/>
          </a:bodyPr>
          <a:lstStyle/>
          <a:p>
            <a:endParaRPr lang="en-US" sz="1200" dirty="0"/>
          </a:p>
          <a:p>
            <a:pPr marL="171450" indent="-171450">
              <a:buFont typeface="Arial" panose="020B0604020202020204" pitchFamily="34" charset="0"/>
              <a:buChar char="•"/>
            </a:pPr>
            <a:r>
              <a:rPr lang="en-US" sz="1200" dirty="0"/>
              <a:t>For this dataset spanning 1995-2016, the platform with the most releases is </a:t>
            </a:r>
            <a:r>
              <a:rPr lang="en-US" sz="1200" dirty="0" err="1"/>
              <a:t>Playstation</a:t>
            </a:r>
            <a:r>
              <a:rPr lang="en-US" sz="1200" dirty="0"/>
              <a:t> 2 followed closely by Nintendo DS with both having more than 2000 games included. These are ~40% more than the next highest game system (</a:t>
            </a:r>
            <a:r>
              <a:rPr lang="en-US" sz="1200" dirty="0" err="1"/>
              <a:t>Playstation</a:t>
            </a:r>
            <a:r>
              <a:rPr lang="en-US" sz="1200" dirty="0"/>
              <a:t> 3). 26 different platforms have games released during the time period.</a:t>
            </a:r>
            <a:br>
              <a:rPr lang="en-US" sz="1200" dirty="0"/>
            </a:br>
            <a:endParaRPr lang="en-US" sz="1200" dirty="0"/>
          </a:p>
          <a:p>
            <a:pPr marL="171450" indent="-171450">
              <a:buFont typeface="Arial" panose="020B0604020202020204" pitchFamily="34" charset="0"/>
              <a:buChar char="•"/>
            </a:pPr>
            <a:r>
              <a:rPr lang="en-US" sz="1200" dirty="0"/>
              <a:t>A game release % distribution by platform by year chart is provided to visually see the years each platform had its ‘era’ and how it stacks up with other platforms comparatively. While Sony and Nintendo have a significant representation in the majority of years, Sega (a major player in the 90’s) died off around 2000 after the Saturn and Dreamcast ran their course.</a:t>
            </a:r>
          </a:p>
        </p:txBody>
      </p:sp>
      <p:sp>
        <p:nvSpPr>
          <p:cNvPr id="7" name="Google Shape;182;p5">
            <a:extLst>
              <a:ext uri="{FF2B5EF4-FFF2-40B4-BE49-F238E27FC236}">
                <a16:creationId xmlns:a16="http://schemas.microsoft.com/office/drawing/2014/main" id="{7471177D-5EC2-488B-8E66-DB9A7AC8B24A}"/>
              </a:ext>
            </a:extLst>
          </p:cNvPr>
          <p:cNvSpPr txBox="1">
            <a:spLocks noGrp="1"/>
          </p:cNvSpPr>
          <p:nvPr>
            <p:ph type="title"/>
          </p:nvPr>
        </p:nvSpPr>
        <p:spPr>
          <a:xfrm>
            <a:off x="80125" y="313141"/>
            <a:ext cx="11851815" cy="502317"/>
          </a:xfrm>
          <a:prstGeom prst="rect">
            <a:avLst/>
          </a:prstGeom>
          <a:noFill/>
          <a:ln>
            <a:noFill/>
          </a:ln>
        </p:spPr>
        <p:txBody>
          <a:bodyPr spcFirstLastPara="1" wrap="square" lIns="0" tIns="0" rIns="0" bIns="0" anchor="t" anchorCtr="0">
            <a:spAutoFit/>
          </a:bodyPr>
          <a:lstStyle/>
          <a:p>
            <a:r>
              <a:rPr lang="en-US" sz="1632" dirty="0">
                <a:solidFill>
                  <a:srgbClr val="002060"/>
                </a:solidFill>
              </a:rPr>
              <a:t>Gamers often have their favorite platform companies they are loyal to, and various data charts show key platform info and trends throughout the years.</a:t>
            </a:r>
            <a:endParaRPr sz="1632" dirty="0">
              <a:solidFill>
                <a:srgbClr val="002060"/>
              </a:solidFill>
            </a:endParaRPr>
          </a:p>
        </p:txBody>
      </p:sp>
    </p:spTree>
    <p:extLst>
      <p:ext uri="{BB962C8B-B14F-4D97-AF65-F5344CB8AC3E}">
        <p14:creationId xmlns:p14="http://schemas.microsoft.com/office/powerpoint/2010/main" val="3953245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239516" y="131340"/>
            <a:ext cx="11824965" cy="943656"/>
          </a:xfrm>
          <a:prstGeom prst="rect">
            <a:avLst/>
          </a:prstGeom>
          <a:noFill/>
          <a:ln>
            <a:noFill/>
          </a:ln>
        </p:spPr>
        <p:txBody>
          <a:bodyPr spcFirstLastPara="1" wrap="square" lIns="0" tIns="0" rIns="0" bIns="0" anchor="t" anchorCtr="0">
            <a:spAutoFit/>
          </a:bodyPr>
          <a:lstStyle/>
          <a:p>
            <a:r>
              <a:rPr lang="en-US" sz="1500" dirty="0">
                <a:solidFill>
                  <a:schemeClr val="tx1"/>
                </a:solidFill>
              </a:rPr>
              <a:t>ABC Games Co. can use historical video game market data to create an in-store data resource for game enthusiasts to provide entertainment, increase efficiency in answering game questions, and provide more guidance for customers on which games may be of interest.</a:t>
            </a:r>
            <a:br>
              <a:rPr lang="en-US" sz="1632" dirty="0">
                <a:solidFill>
                  <a:schemeClr val="tx1"/>
                </a:solidFill>
              </a:rPr>
            </a:br>
            <a:endParaRPr sz="1632" dirty="0">
              <a:solidFill>
                <a:schemeClr val="tx1"/>
              </a:solidFill>
            </a:endParaRPr>
          </a:p>
        </p:txBody>
      </p:sp>
      <p:sp>
        <p:nvSpPr>
          <p:cNvPr id="4" name="TextBox 3">
            <a:extLst>
              <a:ext uri="{FF2B5EF4-FFF2-40B4-BE49-F238E27FC236}">
                <a16:creationId xmlns:a16="http://schemas.microsoft.com/office/drawing/2014/main" id="{E2816C99-5E4F-4B2A-B5FC-EA3FE48BF2A8}"/>
              </a:ext>
            </a:extLst>
          </p:cNvPr>
          <p:cNvSpPr txBox="1"/>
          <p:nvPr/>
        </p:nvSpPr>
        <p:spPr>
          <a:xfrm>
            <a:off x="195690" y="915808"/>
            <a:ext cx="184731" cy="646331"/>
          </a:xfrm>
          <a:prstGeom prst="rect">
            <a:avLst/>
          </a:prstGeom>
          <a:noFill/>
        </p:spPr>
        <p:txBody>
          <a:bodyPr wrap="none" rtlCol="0">
            <a:spAutoFit/>
          </a:bodyPr>
          <a:lstStyle/>
          <a:p>
            <a:br>
              <a:rPr lang="en-US" dirty="0"/>
            </a:br>
            <a:endParaRPr lang="en-US" dirty="0"/>
          </a:p>
        </p:txBody>
      </p:sp>
      <mc:AlternateContent xmlns:mc="http://schemas.openxmlformats.org/markup-compatibility/2006" xmlns:p14="http://schemas.microsoft.com/office/powerpoint/2010/main">
        <mc:Choice Requires="p14">
          <p:contentPart p14:bwMode="auto" r:id="rId3">
            <p14:nvContentPartPr>
              <p14:cNvPr id="31" name="Ink 30">
                <a:extLst>
                  <a:ext uri="{FF2B5EF4-FFF2-40B4-BE49-F238E27FC236}">
                    <a16:creationId xmlns:a16="http://schemas.microsoft.com/office/drawing/2014/main" id="{7AA5F28C-EDD5-4357-AF0B-E584D8E3F336}"/>
                  </a:ext>
                </a:extLst>
              </p14:cNvPr>
              <p14:cNvContentPartPr/>
              <p14:nvPr/>
            </p14:nvContentPartPr>
            <p14:xfrm>
              <a:off x="470300" y="1916319"/>
              <a:ext cx="360" cy="360"/>
            </p14:xfrm>
          </p:contentPart>
        </mc:Choice>
        <mc:Fallback xmlns="">
          <p:pic>
            <p:nvPicPr>
              <p:cNvPr id="31" name="Ink 30">
                <a:extLst>
                  <a:ext uri="{FF2B5EF4-FFF2-40B4-BE49-F238E27FC236}">
                    <a16:creationId xmlns:a16="http://schemas.microsoft.com/office/drawing/2014/main" id="{7AA5F28C-EDD5-4357-AF0B-E584D8E3F336}"/>
                  </a:ext>
                </a:extLst>
              </p:cNvPr>
              <p:cNvPicPr/>
              <p:nvPr/>
            </p:nvPicPr>
            <p:blipFill>
              <a:blip r:embed="rId19"/>
              <a:stretch>
                <a:fillRect/>
              </a:stretch>
            </p:blipFill>
            <p:spPr>
              <a:xfrm>
                <a:off x="452660" y="1898319"/>
                <a:ext cx="36000" cy="36000"/>
              </a:xfrm>
              <a:prstGeom prst="rect">
                <a:avLst/>
              </a:prstGeom>
            </p:spPr>
          </p:pic>
        </mc:Fallback>
      </mc:AlternateContent>
      <p:sp>
        <p:nvSpPr>
          <p:cNvPr id="26" name="Google Shape;64;p2">
            <a:extLst>
              <a:ext uri="{FF2B5EF4-FFF2-40B4-BE49-F238E27FC236}">
                <a16:creationId xmlns:a16="http://schemas.microsoft.com/office/drawing/2014/main" id="{B6A2C6C7-B0DF-4446-8947-FB9951821467}"/>
              </a:ext>
            </a:extLst>
          </p:cNvPr>
          <p:cNvSpPr txBox="1"/>
          <p:nvPr/>
        </p:nvSpPr>
        <p:spPr>
          <a:xfrm>
            <a:off x="964010" y="4759752"/>
            <a:ext cx="10375976" cy="1977759"/>
          </a:xfrm>
          <a:prstGeom prst="rect">
            <a:avLst/>
          </a:prstGeom>
          <a:noFill/>
          <a:ln w="12700" cap="flat" cmpd="sng">
            <a:solidFill>
              <a:srgbClr val="002060"/>
            </a:solidFill>
            <a:prstDash val="dash"/>
            <a:round/>
            <a:headEnd type="none" w="sm" len="sm"/>
            <a:tailEnd type="none" w="sm" len="sm"/>
          </a:ln>
        </p:spPr>
        <p:txBody>
          <a:bodyPr spcFirstLastPara="1" wrap="square" lIns="93282" tIns="46628" rIns="93282" bIns="46628" anchor="t" anchorCtr="0">
            <a:spAutoFit/>
          </a:bodyPr>
          <a:lstStyle/>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Self-Serve Dashboards </a:t>
            </a:r>
            <a:r>
              <a:rPr lang="en-US" sz="1020" b="1" dirty="0">
                <a:solidFill>
                  <a:schemeClr val="dk1"/>
                </a:solidFill>
                <a:latin typeface="Arial"/>
                <a:ea typeface="Arial"/>
                <a:cs typeface="Arial"/>
                <a:sym typeface="Arial"/>
              </a:rPr>
              <a:t>– Tableau dashboards were developed that customers and employees can use to dynamically filter various metrics and trends as desired by a) Year of Release and b) Game Platform. These dashboards make it easy for games and platforms to be researched for potential future purchases or for fun.</a:t>
            </a:r>
          </a:p>
          <a:p>
            <a:pPr>
              <a:buClr>
                <a:schemeClr val="dk1"/>
              </a:buClr>
              <a:buSzPts val="1000"/>
            </a:pPr>
            <a:endParaRPr lang="en-US" sz="1020" b="1" dirty="0">
              <a:solidFill>
                <a:schemeClr val="dk1"/>
              </a:solidFill>
              <a:ea typeface="Arial"/>
              <a:cs typeface="Arial"/>
              <a:sym typeface="Arial"/>
            </a:endParaRPr>
          </a:p>
          <a:p>
            <a:pPr>
              <a:buClr>
                <a:schemeClr val="dk1"/>
              </a:buClr>
              <a:buSzPts val="1000"/>
            </a:pPr>
            <a:endParaRPr sz="1020" b="1" dirty="0">
              <a:solidFill>
                <a:schemeClr val="dk1"/>
              </a:solidFill>
              <a:latin typeface="Arial"/>
              <a:ea typeface="Arial"/>
              <a:cs typeface="Arial"/>
              <a:sym typeface="Arial"/>
            </a:endParaRPr>
          </a:p>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Data Highlights Binders </a:t>
            </a:r>
            <a:r>
              <a:rPr lang="en-US" sz="1020" b="1" dirty="0">
                <a:solidFill>
                  <a:schemeClr val="dk1"/>
                </a:solidFill>
                <a:latin typeface="Arial"/>
                <a:ea typeface="Arial"/>
                <a:cs typeface="Arial"/>
                <a:sym typeface="Arial"/>
              </a:rPr>
              <a:t>– Certain visualizations and statistics from the dashboard and separate analysis can be printed out and left in “data binders” for customers to look at which can increase their time in the store and knowledge to make purchases.  </a:t>
            </a:r>
          </a:p>
          <a:p>
            <a:pPr>
              <a:buClr>
                <a:schemeClr val="dk1"/>
              </a:buClr>
              <a:buSzPts val="1000"/>
            </a:pPr>
            <a:endParaRPr lang="en-US" sz="1020" b="1" dirty="0">
              <a:solidFill>
                <a:schemeClr val="dk1"/>
              </a:solidFill>
              <a:latin typeface="Arial"/>
              <a:ea typeface="Arial"/>
              <a:cs typeface="Arial"/>
              <a:sym typeface="Arial"/>
            </a:endParaRPr>
          </a:p>
          <a:p>
            <a:pPr marL="233241" indent="-233241">
              <a:buClr>
                <a:schemeClr val="dk1"/>
              </a:buClr>
              <a:buSzPts val="1000"/>
              <a:buFont typeface="Arial" panose="020B0604020202020204" pitchFamily="34" charset="0"/>
              <a:buChar char="•"/>
            </a:pPr>
            <a:endParaRPr lang="en-US" sz="1020" b="1" dirty="0">
              <a:solidFill>
                <a:schemeClr val="dk1"/>
              </a:solidFill>
              <a:latin typeface="Arial"/>
              <a:ea typeface="Arial"/>
              <a:cs typeface="Arial"/>
              <a:sym typeface="Arial"/>
            </a:endParaRPr>
          </a:p>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ea typeface="Arial"/>
                <a:cs typeface="Arial"/>
                <a:sym typeface="Arial"/>
              </a:rPr>
              <a:t>Data Slideshow Animations</a:t>
            </a:r>
            <a:r>
              <a:rPr lang="en-US" sz="1020" b="1" dirty="0">
                <a:solidFill>
                  <a:schemeClr val="dk1"/>
                </a:solidFill>
                <a:ea typeface="Arial"/>
                <a:cs typeface="Arial"/>
                <a:sym typeface="Arial"/>
              </a:rPr>
              <a:t> – Animations were created that show video game data details and trends over time (examples: platform release volume each year, highest selling game by platform per year, </a:t>
            </a:r>
            <a:r>
              <a:rPr lang="en-US" sz="1020" b="1" dirty="0" err="1">
                <a:solidFill>
                  <a:schemeClr val="dk1"/>
                </a:solidFill>
                <a:ea typeface="Arial"/>
                <a:cs typeface="Arial"/>
                <a:sym typeface="Arial"/>
              </a:rPr>
              <a:t>etc</a:t>
            </a:r>
            <a:r>
              <a:rPr lang="en-US" sz="1020" b="1" dirty="0">
                <a:solidFill>
                  <a:schemeClr val="dk1"/>
                </a:solidFill>
                <a:ea typeface="Arial"/>
                <a:cs typeface="Arial"/>
                <a:sym typeface="Arial"/>
              </a:rPr>
              <a:t>).  These animations can be played on an in-store monitor for customers to easily see when browsing in the store and may spark additional questions or purchases.</a:t>
            </a:r>
          </a:p>
          <a:p>
            <a:pPr marL="233241" indent="-233241">
              <a:buClr>
                <a:schemeClr val="dk1"/>
              </a:buClr>
              <a:buSzPts val="1000"/>
              <a:buFont typeface="Arial" panose="020B0604020202020204" pitchFamily="34" charset="0"/>
              <a:buChar char="•"/>
            </a:pPr>
            <a:endParaRPr lang="en-US" sz="1020" b="1" dirty="0">
              <a:solidFill>
                <a:schemeClr val="dk1"/>
              </a:solidFill>
              <a:latin typeface="Arial"/>
              <a:ea typeface="Arial"/>
              <a:cs typeface="Arial"/>
              <a:sym typeface="Arial"/>
            </a:endParaRPr>
          </a:p>
        </p:txBody>
      </p:sp>
      <p:sp>
        <p:nvSpPr>
          <p:cNvPr id="8" name="Google Shape;77;p8">
            <a:extLst>
              <a:ext uri="{FF2B5EF4-FFF2-40B4-BE49-F238E27FC236}">
                <a16:creationId xmlns:a16="http://schemas.microsoft.com/office/drawing/2014/main" id="{C53BD61C-8336-4CFA-B958-0D38FAD398D0}"/>
              </a:ext>
            </a:extLst>
          </p:cNvPr>
          <p:cNvSpPr/>
          <p:nvPr/>
        </p:nvSpPr>
        <p:spPr>
          <a:xfrm>
            <a:off x="10234944" y="1034053"/>
            <a:ext cx="1957056"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pic>
        <p:nvPicPr>
          <p:cNvPr id="9" name="Picture 8">
            <a:extLst>
              <a:ext uri="{FF2B5EF4-FFF2-40B4-BE49-F238E27FC236}">
                <a16:creationId xmlns:a16="http://schemas.microsoft.com/office/drawing/2014/main" id="{316B1E4D-A3A0-4C1C-9CF0-36B0A61067D6}"/>
              </a:ext>
            </a:extLst>
          </p:cNvPr>
          <p:cNvPicPr>
            <a:picLocks noChangeAspect="1"/>
          </p:cNvPicPr>
          <p:nvPr/>
        </p:nvPicPr>
        <p:blipFill>
          <a:blip r:embed="rId20"/>
          <a:stretch>
            <a:fillRect/>
          </a:stretch>
        </p:blipFill>
        <p:spPr>
          <a:xfrm>
            <a:off x="2933353" y="1059147"/>
            <a:ext cx="5980936" cy="3502695"/>
          </a:xfrm>
          <a:prstGeom prst="rect">
            <a:avLst/>
          </a:prstGeom>
          <a:ln>
            <a:solidFill>
              <a:schemeClr val="tx1"/>
            </a:solidFill>
          </a:ln>
        </p:spPr>
      </p:pic>
    </p:spTree>
    <p:extLst>
      <p:ext uri="{BB962C8B-B14F-4D97-AF65-F5344CB8AC3E}">
        <p14:creationId xmlns:p14="http://schemas.microsoft.com/office/powerpoint/2010/main" val="2781324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239516" y="131340"/>
            <a:ext cx="11824965" cy="502317"/>
          </a:xfrm>
          <a:prstGeom prst="rect">
            <a:avLst/>
          </a:prstGeom>
          <a:noFill/>
          <a:ln>
            <a:noFill/>
          </a:ln>
        </p:spPr>
        <p:txBody>
          <a:bodyPr spcFirstLastPara="1" wrap="square" lIns="0" tIns="0" rIns="0" bIns="0" anchor="t" anchorCtr="0">
            <a:spAutoFit/>
          </a:bodyPr>
          <a:lstStyle/>
          <a:p>
            <a:br>
              <a:rPr lang="en-US" sz="1632" dirty="0">
                <a:solidFill>
                  <a:schemeClr val="tx1"/>
                </a:solidFill>
              </a:rPr>
            </a:br>
            <a:endParaRPr sz="1632" dirty="0">
              <a:solidFill>
                <a:schemeClr val="tx1"/>
              </a:solidFill>
            </a:endParaRPr>
          </a:p>
        </p:txBody>
      </p:sp>
      <p:sp>
        <p:nvSpPr>
          <p:cNvPr id="4" name="TextBox 3">
            <a:extLst>
              <a:ext uri="{FF2B5EF4-FFF2-40B4-BE49-F238E27FC236}">
                <a16:creationId xmlns:a16="http://schemas.microsoft.com/office/drawing/2014/main" id="{E2816C99-5E4F-4B2A-B5FC-EA3FE48BF2A8}"/>
              </a:ext>
            </a:extLst>
          </p:cNvPr>
          <p:cNvSpPr txBox="1"/>
          <p:nvPr/>
        </p:nvSpPr>
        <p:spPr>
          <a:xfrm>
            <a:off x="195690" y="915808"/>
            <a:ext cx="184731" cy="646331"/>
          </a:xfrm>
          <a:prstGeom prst="rect">
            <a:avLst/>
          </a:prstGeom>
          <a:noFill/>
        </p:spPr>
        <p:txBody>
          <a:bodyPr wrap="none" rtlCol="0">
            <a:spAutoFit/>
          </a:bodyPr>
          <a:lstStyle/>
          <a:p>
            <a:br>
              <a:rPr lang="en-US" dirty="0"/>
            </a:br>
            <a:endParaRPr lang="en-US" dirty="0"/>
          </a:p>
        </p:txBody>
      </p:sp>
      <mc:AlternateContent xmlns:mc="http://schemas.openxmlformats.org/markup-compatibility/2006" xmlns:p14="http://schemas.microsoft.com/office/powerpoint/2010/main">
        <mc:Choice Requires="p14">
          <p:contentPart p14:bwMode="auto" r:id="rId3">
            <p14:nvContentPartPr>
              <p14:cNvPr id="31" name="Ink 30">
                <a:extLst>
                  <a:ext uri="{FF2B5EF4-FFF2-40B4-BE49-F238E27FC236}">
                    <a16:creationId xmlns:a16="http://schemas.microsoft.com/office/drawing/2014/main" id="{7AA5F28C-EDD5-4357-AF0B-E584D8E3F336}"/>
                  </a:ext>
                </a:extLst>
              </p14:cNvPr>
              <p14:cNvContentPartPr/>
              <p14:nvPr/>
            </p14:nvContentPartPr>
            <p14:xfrm>
              <a:off x="470300" y="1916319"/>
              <a:ext cx="360" cy="360"/>
            </p14:xfrm>
          </p:contentPart>
        </mc:Choice>
        <mc:Fallback xmlns="">
          <p:pic>
            <p:nvPicPr>
              <p:cNvPr id="31" name="Ink 30">
                <a:extLst>
                  <a:ext uri="{FF2B5EF4-FFF2-40B4-BE49-F238E27FC236}">
                    <a16:creationId xmlns:a16="http://schemas.microsoft.com/office/drawing/2014/main" id="{7AA5F28C-EDD5-4357-AF0B-E584D8E3F336}"/>
                  </a:ext>
                </a:extLst>
              </p:cNvPr>
              <p:cNvPicPr/>
              <p:nvPr/>
            </p:nvPicPr>
            <p:blipFill>
              <a:blip r:embed="rId19"/>
              <a:stretch>
                <a:fillRect/>
              </a:stretch>
            </p:blipFill>
            <p:spPr>
              <a:xfrm>
                <a:off x="452660" y="1898319"/>
                <a:ext cx="36000" cy="36000"/>
              </a:xfrm>
              <a:prstGeom prst="rect">
                <a:avLst/>
              </a:prstGeom>
            </p:spPr>
          </p:pic>
        </mc:Fallback>
      </mc:AlternateContent>
      <p:pic>
        <p:nvPicPr>
          <p:cNvPr id="2" name="Picture 1">
            <a:extLst>
              <a:ext uri="{FF2B5EF4-FFF2-40B4-BE49-F238E27FC236}">
                <a16:creationId xmlns:a16="http://schemas.microsoft.com/office/drawing/2014/main" id="{56FDFCD1-A88E-41BD-BBB8-8FF364F1AC28}"/>
              </a:ext>
            </a:extLst>
          </p:cNvPr>
          <p:cNvPicPr>
            <a:picLocks noChangeAspect="1"/>
          </p:cNvPicPr>
          <p:nvPr/>
        </p:nvPicPr>
        <p:blipFill>
          <a:blip r:embed="rId20"/>
          <a:stretch>
            <a:fillRect/>
          </a:stretch>
        </p:blipFill>
        <p:spPr>
          <a:xfrm>
            <a:off x="2409825" y="1149655"/>
            <a:ext cx="7372350" cy="1876425"/>
          </a:xfrm>
          <a:prstGeom prst="rect">
            <a:avLst/>
          </a:prstGeom>
          <a:ln>
            <a:solidFill>
              <a:schemeClr val="tx1"/>
            </a:solidFill>
          </a:ln>
        </p:spPr>
      </p:pic>
      <p:sp>
        <p:nvSpPr>
          <p:cNvPr id="7" name="Google Shape;64;p2">
            <a:extLst>
              <a:ext uri="{FF2B5EF4-FFF2-40B4-BE49-F238E27FC236}">
                <a16:creationId xmlns:a16="http://schemas.microsoft.com/office/drawing/2014/main" id="{410E82F7-3B4B-48BD-8B1A-A038AC63D928}"/>
              </a:ext>
            </a:extLst>
          </p:cNvPr>
          <p:cNvSpPr txBox="1"/>
          <p:nvPr/>
        </p:nvSpPr>
        <p:spPr>
          <a:xfrm>
            <a:off x="1183106" y="3638303"/>
            <a:ext cx="10375976" cy="2762590"/>
          </a:xfrm>
          <a:prstGeom prst="rect">
            <a:avLst/>
          </a:prstGeom>
          <a:noFill/>
          <a:ln w="12700" cap="flat" cmpd="sng">
            <a:solidFill>
              <a:srgbClr val="002060"/>
            </a:solidFill>
            <a:prstDash val="dash"/>
            <a:round/>
            <a:headEnd type="none" w="sm" len="sm"/>
            <a:tailEnd type="none" w="sm" len="sm"/>
          </a:ln>
        </p:spPr>
        <p:txBody>
          <a:bodyPr spcFirstLastPara="1" wrap="square" lIns="93282" tIns="46628" rIns="93282" bIns="46628" anchor="t" anchorCtr="0">
            <a:spAutoFit/>
          </a:bodyPr>
          <a:lstStyle/>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Data Source </a:t>
            </a:r>
            <a:r>
              <a:rPr lang="en-US" sz="1020" b="1" dirty="0">
                <a:solidFill>
                  <a:schemeClr val="dk1"/>
                </a:solidFill>
                <a:latin typeface="Arial"/>
                <a:ea typeface="Arial"/>
                <a:cs typeface="Arial"/>
                <a:sym typeface="Arial"/>
              </a:rPr>
              <a:t>– </a:t>
            </a:r>
            <a:r>
              <a:rPr lang="en-US" sz="1020" b="1" dirty="0">
                <a:solidFill>
                  <a:schemeClr val="dk1"/>
                </a:solidFill>
                <a:latin typeface="Arial" panose="020B0604020202020204" pitchFamily="34" charset="0"/>
                <a:ea typeface="Arial"/>
                <a:cs typeface="Arial" panose="020B0604020202020204" pitchFamily="34" charset="0"/>
                <a:sym typeface="Arial"/>
              </a:rPr>
              <a:t>The data comes from a Kaggle.com dataset that was ultimately sourced VGChartz.com. The date range chosen for in-store data is 1995-2016 because available data before the mid-nineties was lower likely due to a) not as </a:t>
            </a:r>
            <a:r>
              <a:rPr lang="en-US" sz="1020" b="1" dirty="0">
                <a:latin typeface="Arial" panose="020B0604020202020204" pitchFamily="34" charset="0"/>
                <a:cs typeface="Arial" panose="020B0604020202020204" pitchFamily="34" charset="0"/>
              </a:rPr>
              <a:t>much related sales data being logged for games during those years and b) the overall industry was less widely popular and mature</a:t>
            </a:r>
            <a:r>
              <a:rPr lang="en-US" sz="1020" b="1" dirty="0">
                <a:solidFill>
                  <a:schemeClr val="dk1"/>
                </a:solidFill>
                <a:latin typeface="Arial" panose="020B0604020202020204" pitchFamily="34" charset="0"/>
                <a:cs typeface="Arial" panose="020B0604020202020204" pitchFamily="34" charset="0"/>
                <a:sym typeface="Arial"/>
              </a:rPr>
              <a:t>.  Metacritic user/critic score and ratings data were also added though roughly half the games are missing a score (mostly older games).</a:t>
            </a:r>
            <a:endParaRPr lang="en-US" sz="1020" b="1" dirty="0">
              <a:solidFill>
                <a:schemeClr val="dk1"/>
              </a:solidFill>
              <a:ea typeface="Arial"/>
              <a:cs typeface="Arial"/>
              <a:sym typeface="Arial"/>
            </a:endParaRPr>
          </a:p>
          <a:p>
            <a:pPr>
              <a:buClr>
                <a:schemeClr val="dk1"/>
              </a:buClr>
              <a:buSzPts val="1000"/>
            </a:pPr>
            <a:endParaRPr sz="1020" b="1" dirty="0">
              <a:solidFill>
                <a:schemeClr val="dk1"/>
              </a:solidFill>
              <a:latin typeface="Arial"/>
              <a:ea typeface="Arial"/>
              <a:cs typeface="Arial"/>
              <a:sym typeface="Arial"/>
            </a:endParaRPr>
          </a:p>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ea typeface="Arial"/>
                <a:cs typeface="Arial"/>
                <a:sym typeface="Arial"/>
              </a:rPr>
              <a:t>Available Data Columns</a:t>
            </a:r>
            <a:r>
              <a:rPr lang="en-US" sz="1020" b="1" dirty="0">
                <a:solidFill>
                  <a:schemeClr val="tx1">
                    <a:lumMod val="75000"/>
                    <a:lumOff val="25000"/>
                  </a:schemeClr>
                </a:solidFill>
                <a:ea typeface="Arial"/>
                <a:cs typeface="Arial"/>
                <a:sym typeface="Arial"/>
              </a:rPr>
              <a:t> – </a:t>
            </a:r>
          </a:p>
          <a:p>
            <a:pPr marL="233241" indent="-233241">
              <a:buClr>
                <a:schemeClr val="dk1"/>
              </a:buClr>
              <a:buSzPts val="1000"/>
              <a:buFont typeface="Arial" panose="020B0604020202020204" pitchFamily="34" charset="0"/>
              <a:buChar char="•"/>
            </a:pPr>
            <a:endParaRPr lang="en-US" sz="1020" b="1" dirty="0">
              <a:solidFill>
                <a:schemeClr val="tx1">
                  <a:lumMod val="75000"/>
                  <a:lumOff val="25000"/>
                </a:schemeClr>
              </a:solidFill>
              <a:latin typeface="Arial"/>
              <a:ea typeface="Arial"/>
              <a:cs typeface="Arial"/>
              <a:sym typeface="Arial"/>
            </a:endParaRPr>
          </a:p>
          <a:p>
            <a:pPr marL="690441" lvl="1" indent="-233241">
              <a:buClr>
                <a:schemeClr val="dk1"/>
              </a:buClr>
              <a:buSzPts val="1000"/>
              <a:buFont typeface="Arial" panose="020B0604020202020204" pitchFamily="34" charset="0"/>
              <a:buChar char="•"/>
            </a:pPr>
            <a:r>
              <a:rPr lang="en-US" sz="1020" b="1" dirty="0">
                <a:latin typeface="Arial"/>
                <a:ea typeface="Arial"/>
                <a:cs typeface="Arial"/>
                <a:sym typeface="Arial"/>
              </a:rPr>
              <a:t>Name	</a:t>
            </a:r>
          </a:p>
          <a:p>
            <a:pPr marL="690441" lvl="1" indent="-233241">
              <a:buClr>
                <a:schemeClr val="dk1"/>
              </a:buClr>
              <a:buSzPts val="1000"/>
              <a:buFont typeface="Arial" panose="020B0604020202020204" pitchFamily="34" charset="0"/>
              <a:buChar char="•"/>
            </a:pPr>
            <a:r>
              <a:rPr lang="en-US" sz="1020" b="1" dirty="0">
                <a:latin typeface="Arial"/>
                <a:ea typeface="Arial"/>
                <a:cs typeface="Arial"/>
                <a:sym typeface="Arial"/>
              </a:rPr>
              <a:t>Platform</a:t>
            </a:r>
          </a:p>
          <a:p>
            <a:pPr marL="690441" lvl="1" indent="-233241">
              <a:buClr>
                <a:schemeClr val="dk1"/>
              </a:buClr>
              <a:buSzPts val="1000"/>
              <a:buFont typeface="Arial" panose="020B0604020202020204" pitchFamily="34" charset="0"/>
              <a:buChar char="•"/>
            </a:pPr>
            <a:r>
              <a:rPr lang="en-US" sz="1020" b="1" dirty="0">
                <a:latin typeface="Arial"/>
                <a:ea typeface="Arial"/>
                <a:cs typeface="Arial"/>
                <a:sym typeface="Arial"/>
              </a:rPr>
              <a:t>Year of Release</a:t>
            </a:r>
          </a:p>
          <a:p>
            <a:pPr marL="233241" indent="-233241">
              <a:buClr>
                <a:schemeClr val="dk1"/>
              </a:buClr>
              <a:buSzPts val="1000"/>
              <a:buFont typeface="Arial" panose="020B0604020202020204" pitchFamily="34" charset="0"/>
              <a:buChar char="•"/>
            </a:pPr>
            <a:endParaRPr lang="en-US" sz="1020" b="1" u="sng" dirty="0">
              <a:solidFill>
                <a:schemeClr val="tx1">
                  <a:lumMod val="75000"/>
                  <a:lumOff val="25000"/>
                </a:schemeClr>
              </a:solidFill>
              <a:ea typeface="Arial"/>
              <a:cs typeface="Arial"/>
              <a:sym typeface="Arial"/>
            </a:endParaRPr>
          </a:p>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ea typeface="Arial"/>
                <a:cs typeface="Arial"/>
                <a:sym typeface="Arial"/>
              </a:rPr>
              <a:t>Data Caveats </a:t>
            </a:r>
            <a:r>
              <a:rPr lang="en-US" sz="1020" b="1" dirty="0">
                <a:solidFill>
                  <a:schemeClr val="tx1">
                    <a:lumMod val="75000"/>
                    <a:lumOff val="25000"/>
                  </a:schemeClr>
                </a:solidFill>
                <a:ea typeface="Arial"/>
                <a:cs typeface="Arial"/>
                <a:sym typeface="Arial"/>
              </a:rPr>
              <a:t>(also listed under the dashboard info icon):</a:t>
            </a:r>
            <a:br>
              <a:rPr lang="en-US" sz="1020" b="1" u="sng" dirty="0">
                <a:solidFill>
                  <a:schemeClr val="dk1"/>
                </a:solidFill>
                <a:ea typeface="Arial"/>
                <a:cs typeface="Arial"/>
                <a:sym typeface="Arial"/>
              </a:rPr>
            </a:br>
            <a:endParaRPr lang="en-US" sz="1020" b="1" u="sng" dirty="0">
              <a:solidFill>
                <a:schemeClr val="dk1"/>
              </a:solidFill>
              <a:ea typeface="Arial"/>
              <a:cs typeface="Arial"/>
              <a:sym typeface="Arial"/>
            </a:endParaRPr>
          </a:p>
          <a:p>
            <a:pPr marL="690441" lvl="1" indent="-233241">
              <a:buClr>
                <a:schemeClr val="dk1"/>
              </a:buClr>
              <a:buSzPts val="1000"/>
              <a:buFont typeface="Arial" panose="020B0604020202020204" pitchFamily="34" charset="0"/>
              <a:buChar char="•"/>
            </a:pPr>
            <a:r>
              <a:rPr lang="en-US" sz="1020" b="1" i="1" dirty="0">
                <a:solidFill>
                  <a:schemeClr val="dk1"/>
                </a:solidFill>
                <a:latin typeface="Arial" panose="020B0604020202020204" pitchFamily="34" charset="0"/>
                <a:ea typeface="Arial"/>
                <a:cs typeface="Arial" panose="020B0604020202020204" pitchFamily="34" charset="0"/>
                <a:sym typeface="Arial"/>
              </a:rPr>
              <a:t>Games with unit sales of &gt; 10k are included but may not be exhaustive. </a:t>
            </a:r>
          </a:p>
          <a:p>
            <a:pPr marL="690441" lvl="1" indent="-233241">
              <a:buClr>
                <a:schemeClr val="dk1"/>
              </a:buClr>
              <a:buSzPts val="1000"/>
              <a:buFont typeface="Arial" panose="020B0604020202020204" pitchFamily="34" charset="0"/>
              <a:buChar char="•"/>
            </a:pPr>
            <a:r>
              <a:rPr lang="en-US" sz="1020" b="1" i="1" dirty="0">
                <a:solidFill>
                  <a:schemeClr val="dk1"/>
                </a:solidFill>
                <a:latin typeface="Arial" panose="020B0604020202020204" pitchFamily="34" charset="0"/>
                <a:cs typeface="Arial" panose="020B0604020202020204" pitchFamily="34" charset="0"/>
                <a:sym typeface="Arial"/>
              </a:rPr>
              <a:t>Data was collected in late 2016 so 2016 may be missing some late year sales and releases and should be considered “incomplete”</a:t>
            </a:r>
          </a:p>
          <a:p>
            <a:pPr marL="690441" lvl="1" indent="-233241">
              <a:buClr>
                <a:schemeClr val="dk1"/>
              </a:buClr>
              <a:buSzPts val="1000"/>
              <a:buFont typeface="Arial" panose="020B0604020202020204" pitchFamily="34" charset="0"/>
              <a:buChar char="•"/>
            </a:pPr>
            <a:r>
              <a:rPr lang="en-US" sz="1020" b="1" i="1" dirty="0">
                <a:solidFill>
                  <a:schemeClr val="dk1"/>
                </a:solidFill>
                <a:latin typeface="Arial" panose="020B0604020202020204" pitchFamily="34" charset="0"/>
                <a:cs typeface="Arial" panose="020B0604020202020204" pitchFamily="34" charset="0"/>
                <a:sym typeface="Arial"/>
              </a:rPr>
              <a:t>Data has not been updated since 2016 so sales after that are not reflected.  </a:t>
            </a:r>
          </a:p>
          <a:p>
            <a:pPr marL="233241" indent="-233241">
              <a:buClr>
                <a:schemeClr val="dk1"/>
              </a:buClr>
              <a:buSzPts val="1000"/>
              <a:buFont typeface="Arial" panose="020B0604020202020204" pitchFamily="34" charset="0"/>
              <a:buChar char="•"/>
            </a:pPr>
            <a:endParaRPr lang="en-US" sz="1020" b="1" dirty="0">
              <a:solidFill>
                <a:schemeClr val="dk1"/>
              </a:solidFill>
              <a:latin typeface="Arial"/>
              <a:ea typeface="Arial"/>
              <a:cs typeface="Arial"/>
              <a:sym typeface="Arial"/>
            </a:endParaRPr>
          </a:p>
        </p:txBody>
      </p:sp>
      <p:pic>
        <p:nvPicPr>
          <p:cNvPr id="3" name="Picture 2">
            <a:extLst>
              <a:ext uri="{FF2B5EF4-FFF2-40B4-BE49-F238E27FC236}">
                <a16:creationId xmlns:a16="http://schemas.microsoft.com/office/drawing/2014/main" id="{7ECD163D-FA72-4E6D-9AF2-960C36BAEE1C}"/>
              </a:ext>
            </a:extLst>
          </p:cNvPr>
          <p:cNvPicPr>
            <a:picLocks noChangeAspect="1"/>
          </p:cNvPicPr>
          <p:nvPr/>
        </p:nvPicPr>
        <p:blipFill>
          <a:blip r:embed="rId21"/>
          <a:stretch>
            <a:fillRect/>
          </a:stretch>
        </p:blipFill>
        <p:spPr>
          <a:xfrm>
            <a:off x="10054247" y="1527862"/>
            <a:ext cx="1942063" cy="772453"/>
          </a:xfrm>
          <a:prstGeom prst="rect">
            <a:avLst/>
          </a:prstGeom>
        </p:spPr>
      </p:pic>
      <p:pic>
        <p:nvPicPr>
          <p:cNvPr id="5" name="Picture 4">
            <a:extLst>
              <a:ext uri="{FF2B5EF4-FFF2-40B4-BE49-F238E27FC236}">
                <a16:creationId xmlns:a16="http://schemas.microsoft.com/office/drawing/2014/main" id="{51BD3C24-71F3-4108-84DC-0593C0347355}"/>
              </a:ext>
            </a:extLst>
          </p:cNvPr>
          <p:cNvPicPr>
            <a:picLocks noChangeAspect="1"/>
          </p:cNvPicPr>
          <p:nvPr/>
        </p:nvPicPr>
        <p:blipFill>
          <a:blip r:embed="rId22"/>
          <a:stretch>
            <a:fillRect/>
          </a:stretch>
        </p:blipFill>
        <p:spPr>
          <a:xfrm>
            <a:off x="525942" y="1456387"/>
            <a:ext cx="1247216" cy="699698"/>
          </a:xfrm>
          <a:prstGeom prst="rect">
            <a:avLst/>
          </a:prstGeom>
        </p:spPr>
      </p:pic>
      <p:pic>
        <p:nvPicPr>
          <p:cNvPr id="6" name="Picture 5">
            <a:extLst>
              <a:ext uri="{FF2B5EF4-FFF2-40B4-BE49-F238E27FC236}">
                <a16:creationId xmlns:a16="http://schemas.microsoft.com/office/drawing/2014/main" id="{63EA74FA-ECF9-417D-9F77-A48AFAACA894}"/>
              </a:ext>
            </a:extLst>
          </p:cNvPr>
          <p:cNvPicPr>
            <a:picLocks noChangeAspect="1"/>
          </p:cNvPicPr>
          <p:nvPr/>
        </p:nvPicPr>
        <p:blipFill>
          <a:blip r:embed="rId23"/>
          <a:stretch>
            <a:fillRect/>
          </a:stretch>
        </p:blipFill>
        <p:spPr>
          <a:xfrm>
            <a:off x="470300" y="2395491"/>
            <a:ext cx="1358500" cy="595234"/>
          </a:xfrm>
          <a:prstGeom prst="rect">
            <a:avLst/>
          </a:prstGeom>
        </p:spPr>
      </p:pic>
      <p:sp>
        <p:nvSpPr>
          <p:cNvPr id="11" name="Google Shape;182;p5">
            <a:extLst>
              <a:ext uri="{FF2B5EF4-FFF2-40B4-BE49-F238E27FC236}">
                <a16:creationId xmlns:a16="http://schemas.microsoft.com/office/drawing/2014/main" id="{495C28C3-E061-49DB-9A62-E8EA56B8B707}"/>
              </a:ext>
            </a:extLst>
          </p:cNvPr>
          <p:cNvSpPr txBox="1">
            <a:spLocks/>
          </p:cNvSpPr>
          <p:nvPr/>
        </p:nvSpPr>
        <p:spPr>
          <a:xfrm>
            <a:off x="239516" y="131340"/>
            <a:ext cx="11824965" cy="71282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r>
              <a:rPr lang="en-US" sz="1500" kern="0" dirty="0">
                <a:solidFill>
                  <a:schemeClr val="tx1"/>
                </a:solidFill>
              </a:rPr>
              <a:t>The dataset powering the in-store dashboards and visualizations encompasses games released during 1995-2016 and blends sales data from VGChartz.com with critic/user score data from Metacritic (when available).    </a:t>
            </a:r>
            <a:br>
              <a:rPr lang="en-US" sz="1632" kern="0" dirty="0">
                <a:solidFill>
                  <a:schemeClr val="tx1"/>
                </a:solidFill>
              </a:rPr>
            </a:br>
            <a:endParaRPr lang="en-US" sz="1632" kern="0" dirty="0">
              <a:solidFill>
                <a:schemeClr val="tx1"/>
              </a:solidFill>
            </a:endParaRPr>
          </a:p>
        </p:txBody>
      </p:sp>
      <p:sp>
        <p:nvSpPr>
          <p:cNvPr id="9" name="TextBox 8">
            <a:extLst>
              <a:ext uri="{FF2B5EF4-FFF2-40B4-BE49-F238E27FC236}">
                <a16:creationId xmlns:a16="http://schemas.microsoft.com/office/drawing/2014/main" id="{8EE53AD2-F67D-47FC-BAAB-B2E028C269AE}"/>
              </a:ext>
            </a:extLst>
          </p:cNvPr>
          <p:cNvSpPr txBox="1"/>
          <p:nvPr/>
        </p:nvSpPr>
        <p:spPr>
          <a:xfrm>
            <a:off x="2852256" y="4729413"/>
            <a:ext cx="2160848" cy="840230"/>
          </a:xfrm>
          <a:prstGeom prst="rect">
            <a:avLst/>
          </a:prstGeom>
          <a:noFill/>
        </p:spPr>
        <p:txBody>
          <a:bodyPr wrap="none" rtlCol="0">
            <a:spAutoFit/>
          </a:bodyPr>
          <a:lstStyle/>
          <a:p>
            <a:pPr marL="690441" lvl="1" indent="-233241">
              <a:buClr>
                <a:schemeClr val="dk1"/>
              </a:buClr>
              <a:buSzPts val="1000"/>
              <a:buFont typeface="Arial" panose="020B0604020202020204" pitchFamily="34" charset="0"/>
              <a:buChar char="•"/>
            </a:pPr>
            <a:r>
              <a:rPr lang="en-US" sz="1020" b="1" dirty="0">
                <a:ea typeface="Arial"/>
                <a:cs typeface="Arial"/>
                <a:sym typeface="Arial"/>
              </a:rPr>
              <a:t>Genre	</a:t>
            </a:r>
          </a:p>
          <a:p>
            <a:pPr marL="690441" lvl="1" indent="-233241">
              <a:buClr>
                <a:schemeClr val="dk1"/>
              </a:buClr>
              <a:buSzPts val="1000"/>
              <a:buFont typeface="Arial" panose="020B0604020202020204" pitchFamily="34" charset="0"/>
              <a:buChar char="•"/>
            </a:pPr>
            <a:r>
              <a:rPr lang="en-US" sz="1020" b="1" dirty="0">
                <a:ea typeface="Arial"/>
                <a:cs typeface="Arial"/>
                <a:sym typeface="Arial"/>
              </a:rPr>
              <a:t>Publisher</a:t>
            </a:r>
          </a:p>
          <a:p>
            <a:pPr marL="690441" lvl="1" indent="-233241">
              <a:buClr>
                <a:schemeClr val="dk1"/>
              </a:buClr>
              <a:buSzPts val="1000"/>
              <a:buFont typeface="Arial" panose="020B0604020202020204" pitchFamily="34" charset="0"/>
              <a:buChar char="•"/>
            </a:pPr>
            <a:r>
              <a:rPr lang="en-US" sz="1020" b="1" dirty="0">
                <a:ea typeface="Arial"/>
                <a:cs typeface="Arial"/>
                <a:sym typeface="Arial"/>
              </a:rPr>
              <a:t>North America Sales</a:t>
            </a:r>
          </a:p>
          <a:p>
            <a:endParaRPr lang="en-US" dirty="0"/>
          </a:p>
        </p:txBody>
      </p:sp>
      <p:sp>
        <p:nvSpPr>
          <p:cNvPr id="14" name="TextBox 13">
            <a:extLst>
              <a:ext uri="{FF2B5EF4-FFF2-40B4-BE49-F238E27FC236}">
                <a16:creationId xmlns:a16="http://schemas.microsoft.com/office/drawing/2014/main" id="{41A5E550-B688-4D52-807A-1AA4913DD251}"/>
              </a:ext>
            </a:extLst>
          </p:cNvPr>
          <p:cNvSpPr txBox="1"/>
          <p:nvPr/>
        </p:nvSpPr>
        <p:spPr>
          <a:xfrm>
            <a:off x="4565009" y="4729413"/>
            <a:ext cx="2954655" cy="840230"/>
          </a:xfrm>
          <a:prstGeom prst="rect">
            <a:avLst/>
          </a:prstGeom>
          <a:noFill/>
        </p:spPr>
        <p:txBody>
          <a:bodyPr wrap="none" rtlCol="0">
            <a:spAutoFit/>
          </a:bodyPr>
          <a:lstStyle/>
          <a:p>
            <a:pPr marL="690441" lvl="1" indent="-233241">
              <a:buClr>
                <a:schemeClr val="dk1"/>
              </a:buClr>
              <a:buSzPts val="1000"/>
              <a:buFont typeface="Arial" panose="020B0604020202020204" pitchFamily="34" charset="0"/>
              <a:buChar char="•"/>
            </a:pPr>
            <a:r>
              <a:rPr lang="en-US" sz="1020" b="1" dirty="0">
                <a:ea typeface="Arial"/>
                <a:cs typeface="Arial"/>
                <a:sym typeface="Arial"/>
              </a:rPr>
              <a:t>European Union Sales	</a:t>
            </a:r>
          </a:p>
          <a:p>
            <a:pPr marL="690441" lvl="1" indent="-233241">
              <a:buClr>
                <a:schemeClr val="dk1"/>
              </a:buClr>
              <a:buSzPts val="1000"/>
              <a:buFont typeface="Arial" panose="020B0604020202020204" pitchFamily="34" charset="0"/>
              <a:buChar char="•"/>
            </a:pPr>
            <a:r>
              <a:rPr lang="en-US" sz="1020" b="1" dirty="0">
                <a:ea typeface="Arial"/>
                <a:cs typeface="Arial"/>
                <a:sym typeface="Arial"/>
              </a:rPr>
              <a:t>Japan Sales</a:t>
            </a:r>
          </a:p>
          <a:p>
            <a:pPr marL="690441" lvl="1" indent="-233241">
              <a:buClr>
                <a:schemeClr val="dk1"/>
              </a:buClr>
              <a:buSzPts val="1000"/>
              <a:buFont typeface="Arial" panose="020B0604020202020204" pitchFamily="34" charset="0"/>
              <a:buChar char="•"/>
            </a:pPr>
            <a:r>
              <a:rPr lang="en-US" sz="1020" b="1" dirty="0">
                <a:ea typeface="Arial"/>
                <a:cs typeface="Arial"/>
                <a:sym typeface="Arial"/>
              </a:rPr>
              <a:t>Other Sales</a:t>
            </a:r>
          </a:p>
          <a:p>
            <a:endParaRPr lang="en-US" dirty="0"/>
          </a:p>
        </p:txBody>
      </p:sp>
      <p:sp>
        <p:nvSpPr>
          <p:cNvPr id="15" name="TextBox 14">
            <a:extLst>
              <a:ext uri="{FF2B5EF4-FFF2-40B4-BE49-F238E27FC236}">
                <a16:creationId xmlns:a16="http://schemas.microsoft.com/office/drawing/2014/main" id="{DAAD19B4-AD5B-49F7-947F-12769FDF227D}"/>
              </a:ext>
            </a:extLst>
          </p:cNvPr>
          <p:cNvSpPr txBox="1"/>
          <p:nvPr/>
        </p:nvSpPr>
        <p:spPr>
          <a:xfrm>
            <a:off x="6453930" y="4729413"/>
            <a:ext cx="2031325" cy="840230"/>
          </a:xfrm>
          <a:prstGeom prst="rect">
            <a:avLst/>
          </a:prstGeom>
          <a:noFill/>
        </p:spPr>
        <p:txBody>
          <a:bodyPr wrap="none" rtlCol="0">
            <a:spAutoFit/>
          </a:bodyPr>
          <a:lstStyle/>
          <a:p>
            <a:pPr marL="690441" lvl="1" indent="-233241">
              <a:buClr>
                <a:schemeClr val="dk1"/>
              </a:buClr>
              <a:buSzPts val="1000"/>
              <a:buFont typeface="Arial" panose="020B0604020202020204" pitchFamily="34" charset="0"/>
              <a:buChar char="•"/>
            </a:pPr>
            <a:r>
              <a:rPr lang="en-US" sz="1020" b="1" dirty="0">
                <a:ea typeface="Arial"/>
                <a:cs typeface="Arial"/>
                <a:sym typeface="Arial"/>
              </a:rPr>
              <a:t>Global Sales	</a:t>
            </a:r>
          </a:p>
          <a:p>
            <a:pPr marL="690441" lvl="1" indent="-233241">
              <a:buClr>
                <a:schemeClr val="dk1"/>
              </a:buClr>
              <a:buSzPts val="1000"/>
              <a:buFont typeface="Arial" panose="020B0604020202020204" pitchFamily="34" charset="0"/>
              <a:buChar char="•"/>
            </a:pPr>
            <a:r>
              <a:rPr lang="en-US" sz="1020" b="1" dirty="0">
                <a:ea typeface="Arial"/>
                <a:cs typeface="Arial"/>
                <a:sym typeface="Arial"/>
              </a:rPr>
              <a:t>Critic Score</a:t>
            </a:r>
          </a:p>
          <a:p>
            <a:pPr marL="690441" lvl="1" indent="-233241">
              <a:buClr>
                <a:schemeClr val="dk1"/>
              </a:buClr>
              <a:buSzPts val="1000"/>
              <a:buFont typeface="Arial" panose="020B0604020202020204" pitchFamily="34" charset="0"/>
              <a:buChar char="•"/>
            </a:pPr>
            <a:r>
              <a:rPr lang="en-US" sz="1020" b="1" dirty="0">
                <a:ea typeface="Arial"/>
                <a:cs typeface="Arial"/>
                <a:sym typeface="Arial"/>
              </a:rPr>
              <a:t>User Score</a:t>
            </a:r>
          </a:p>
          <a:p>
            <a:endParaRPr lang="en-US" dirty="0"/>
          </a:p>
        </p:txBody>
      </p:sp>
      <p:sp>
        <p:nvSpPr>
          <p:cNvPr id="16" name="TextBox 15">
            <a:extLst>
              <a:ext uri="{FF2B5EF4-FFF2-40B4-BE49-F238E27FC236}">
                <a16:creationId xmlns:a16="http://schemas.microsoft.com/office/drawing/2014/main" id="{5A93DF12-5CD9-48D0-9D11-041AE8CEE55D}"/>
              </a:ext>
            </a:extLst>
          </p:cNvPr>
          <p:cNvSpPr txBox="1"/>
          <p:nvPr/>
        </p:nvSpPr>
        <p:spPr>
          <a:xfrm>
            <a:off x="8158294" y="4729413"/>
            <a:ext cx="2031325" cy="526298"/>
          </a:xfrm>
          <a:prstGeom prst="rect">
            <a:avLst/>
          </a:prstGeom>
          <a:noFill/>
        </p:spPr>
        <p:txBody>
          <a:bodyPr wrap="none" rtlCol="0">
            <a:spAutoFit/>
          </a:bodyPr>
          <a:lstStyle/>
          <a:p>
            <a:pPr marL="690441" lvl="1" indent="-233241">
              <a:buClr>
                <a:schemeClr val="dk1"/>
              </a:buClr>
              <a:buSzPts val="1000"/>
              <a:buFont typeface="Arial" panose="020B0604020202020204" pitchFamily="34" charset="0"/>
              <a:buChar char="•"/>
            </a:pPr>
            <a:r>
              <a:rPr lang="en-US" sz="1020" b="1" dirty="0">
                <a:ea typeface="Arial"/>
                <a:cs typeface="Arial"/>
                <a:sym typeface="Arial"/>
              </a:rPr>
              <a:t>ESRB Rating	</a:t>
            </a:r>
          </a:p>
          <a:p>
            <a:endParaRPr lang="en-US" dirty="0"/>
          </a:p>
        </p:txBody>
      </p:sp>
      <p:sp>
        <p:nvSpPr>
          <p:cNvPr id="17" name="Google Shape;77;p8">
            <a:extLst>
              <a:ext uri="{FF2B5EF4-FFF2-40B4-BE49-F238E27FC236}">
                <a16:creationId xmlns:a16="http://schemas.microsoft.com/office/drawing/2014/main" id="{D11B1842-7A0E-4ABD-AD7C-4270686146C9}"/>
              </a:ext>
            </a:extLst>
          </p:cNvPr>
          <p:cNvSpPr/>
          <p:nvPr/>
        </p:nvSpPr>
        <p:spPr>
          <a:xfrm>
            <a:off x="171022" y="6519592"/>
            <a:ext cx="1957056"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794394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pic>
        <p:nvPicPr>
          <p:cNvPr id="12" name="Picture 11">
            <a:extLst>
              <a:ext uri="{FF2B5EF4-FFF2-40B4-BE49-F238E27FC236}">
                <a16:creationId xmlns:a16="http://schemas.microsoft.com/office/drawing/2014/main" id="{294861D9-7F71-4948-8E5D-4F85FEF005F7}"/>
              </a:ext>
            </a:extLst>
          </p:cNvPr>
          <p:cNvPicPr>
            <a:picLocks noChangeAspect="1"/>
          </p:cNvPicPr>
          <p:nvPr/>
        </p:nvPicPr>
        <p:blipFill>
          <a:blip r:embed="rId3"/>
          <a:stretch>
            <a:fillRect/>
          </a:stretch>
        </p:blipFill>
        <p:spPr>
          <a:xfrm>
            <a:off x="73024" y="1114644"/>
            <a:ext cx="5980936" cy="3502695"/>
          </a:xfrm>
          <a:prstGeom prst="rect">
            <a:avLst/>
          </a:prstGeom>
          <a:ln>
            <a:solidFill>
              <a:schemeClr val="tx1"/>
            </a:solidFill>
          </a:ln>
        </p:spPr>
      </p:pic>
      <p:pic>
        <p:nvPicPr>
          <p:cNvPr id="13" name="Picture 12">
            <a:extLst>
              <a:ext uri="{FF2B5EF4-FFF2-40B4-BE49-F238E27FC236}">
                <a16:creationId xmlns:a16="http://schemas.microsoft.com/office/drawing/2014/main" id="{FCD96D0E-E950-46EE-AFB9-16F9FE2CFD2C}"/>
              </a:ext>
            </a:extLst>
          </p:cNvPr>
          <p:cNvPicPr>
            <a:picLocks noChangeAspect="1"/>
          </p:cNvPicPr>
          <p:nvPr/>
        </p:nvPicPr>
        <p:blipFill>
          <a:blip r:embed="rId4"/>
          <a:stretch>
            <a:fillRect/>
          </a:stretch>
        </p:blipFill>
        <p:spPr>
          <a:xfrm>
            <a:off x="6138042" y="1114643"/>
            <a:ext cx="5980936" cy="3502695"/>
          </a:xfrm>
          <a:prstGeom prst="rect">
            <a:avLst/>
          </a:prstGeom>
          <a:ln>
            <a:solidFill>
              <a:schemeClr val="tx1"/>
            </a:solidFill>
          </a:ln>
        </p:spPr>
      </p:pic>
      <p:sp>
        <p:nvSpPr>
          <p:cNvPr id="8" name="Google Shape;77;p8">
            <a:extLst>
              <a:ext uri="{FF2B5EF4-FFF2-40B4-BE49-F238E27FC236}">
                <a16:creationId xmlns:a16="http://schemas.microsoft.com/office/drawing/2014/main" id="{51F5554D-13B4-43C4-8030-CCB01F35EF40}"/>
              </a:ext>
            </a:extLst>
          </p:cNvPr>
          <p:cNvSpPr/>
          <p:nvPr/>
        </p:nvSpPr>
        <p:spPr>
          <a:xfrm>
            <a:off x="10526253" y="6230518"/>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
        <p:nvSpPr>
          <p:cNvPr id="11" name="Google Shape;182;p5">
            <a:extLst>
              <a:ext uri="{FF2B5EF4-FFF2-40B4-BE49-F238E27FC236}">
                <a16:creationId xmlns:a16="http://schemas.microsoft.com/office/drawing/2014/main" id="{CAC7A6EB-67A1-4D8D-A6D2-0B23F9362D12}"/>
              </a:ext>
            </a:extLst>
          </p:cNvPr>
          <p:cNvSpPr txBox="1">
            <a:spLocks/>
          </p:cNvSpPr>
          <p:nvPr/>
        </p:nvSpPr>
        <p:spPr>
          <a:xfrm>
            <a:off x="225559" y="205833"/>
            <a:ext cx="11824965" cy="71282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r>
              <a:rPr lang="en-US" sz="1500" kern="0" dirty="0">
                <a:solidFill>
                  <a:schemeClr val="tx1"/>
                </a:solidFill>
              </a:rPr>
              <a:t>Tableau dashboards were built to allow in-store users to dynamically view and filter various trends and metrics related to video game platforms and release years of interest.     </a:t>
            </a:r>
            <a:br>
              <a:rPr lang="en-US" sz="1632" kern="0" dirty="0">
                <a:solidFill>
                  <a:schemeClr val="tx1"/>
                </a:solidFill>
              </a:rPr>
            </a:br>
            <a:endParaRPr lang="en-US" sz="1632" kern="0" dirty="0">
              <a:solidFill>
                <a:schemeClr val="tx1"/>
              </a:solidFill>
            </a:endParaRPr>
          </a:p>
        </p:txBody>
      </p:sp>
      <p:sp>
        <p:nvSpPr>
          <p:cNvPr id="14" name="Google Shape;64;p2">
            <a:extLst>
              <a:ext uri="{FF2B5EF4-FFF2-40B4-BE49-F238E27FC236}">
                <a16:creationId xmlns:a16="http://schemas.microsoft.com/office/drawing/2014/main" id="{E420ABDF-E0C5-4EFA-87CB-8B68DA95DD15}"/>
              </a:ext>
            </a:extLst>
          </p:cNvPr>
          <p:cNvSpPr txBox="1"/>
          <p:nvPr/>
        </p:nvSpPr>
        <p:spPr>
          <a:xfrm>
            <a:off x="150277" y="4754476"/>
            <a:ext cx="10375976" cy="1820793"/>
          </a:xfrm>
          <a:prstGeom prst="rect">
            <a:avLst/>
          </a:prstGeom>
          <a:noFill/>
          <a:ln w="12700" cap="flat" cmpd="sng">
            <a:solidFill>
              <a:srgbClr val="002060"/>
            </a:solidFill>
            <a:prstDash val="dash"/>
            <a:round/>
            <a:headEnd type="none" w="sm" len="sm"/>
            <a:tailEnd type="none" w="sm" len="sm"/>
          </a:ln>
        </p:spPr>
        <p:txBody>
          <a:bodyPr spcFirstLastPara="1" wrap="square" lIns="93282" tIns="46628" rIns="93282" bIns="46628" anchor="t" anchorCtr="0">
            <a:spAutoFit/>
          </a:bodyPr>
          <a:lstStyle/>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Video Game ‘Overall’ Dashboard</a:t>
            </a:r>
            <a:r>
              <a:rPr lang="en-US" sz="1020" b="1" dirty="0">
                <a:solidFill>
                  <a:schemeClr val="tx1">
                    <a:lumMod val="75000"/>
                    <a:lumOff val="25000"/>
                  </a:schemeClr>
                </a:solidFill>
                <a:latin typeface="Arial"/>
                <a:ea typeface="Arial"/>
                <a:cs typeface="Arial"/>
                <a:sym typeface="Arial"/>
              </a:rPr>
              <a:t> </a:t>
            </a:r>
            <a:r>
              <a:rPr lang="en-US" sz="1020" b="1" dirty="0">
                <a:latin typeface="Arial"/>
                <a:ea typeface="Arial"/>
                <a:cs typeface="Arial"/>
                <a:sym typeface="Arial"/>
              </a:rPr>
              <a:t>– View game release volume per year, regional unit sales per year, Top 10 publishers (in global unit sales), highest selling games, game release volume by genre, and a chart that shows the percentage of unit sales each platform made up each year.  All charts except the last are filterable for any desired year or game platform.</a:t>
            </a:r>
            <a:endParaRPr lang="en-US" sz="1020" b="1" dirty="0">
              <a:solidFill>
                <a:schemeClr val="dk1"/>
              </a:solidFill>
              <a:latin typeface="Arial"/>
              <a:ea typeface="Arial"/>
              <a:cs typeface="Arial"/>
              <a:sym typeface="Arial"/>
            </a:endParaRPr>
          </a:p>
          <a:p>
            <a:pPr>
              <a:buClr>
                <a:schemeClr val="dk1"/>
              </a:buClr>
              <a:buSzPts val="1000"/>
            </a:pPr>
            <a:endParaRPr lang="en-US" sz="1020" b="1" dirty="0">
              <a:solidFill>
                <a:schemeClr val="dk1"/>
              </a:solidFill>
              <a:ea typeface="Arial"/>
              <a:cs typeface="Arial"/>
              <a:sym typeface="Arial"/>
            </a:endParaRPr>
          </a:p>
          <a:p>
            <a:pPr>
              <a:buClr>
                <a:schemeClr val="dk1"/>
              </a:buClr>
              <a:buSzPts val="1000"/>
            </a:pPr>
            <a:endParaRPr sz="1020" b="1" dirty="0">
              <a:solidFill>
                <a:schemeClr val="dk1"/>
              </a:solidFill>
              <a:latin typeface="Arial"/>
              <a:ea typeface="Arial"/>
              <a:cs typeface="Arial"/>
              <a:sym typeface="Arial"/>
            </a:endParaRPr>
          </a:p>
          <a:p>
            <a:pPr marL="233241" indent="-233241">
              <a:buClr>
                <a:schemeClr val="dk1"/>
              </a:buClr>
              <a:buSzPts val="1000"/>
              <a:buFont typeface="Arial" panose="020B0604020202020204" pitchFamily="34" charset="0"/>
              <a:buChar char="•"/>
            </a:pPr>
            <a:r>
              <a:rPr lang="en-US" sz="1020" b="1" u="sng" dirty="0">
                <a:solidFill>
                  <a:schemeClr val="tx1">
                    <a:lumMod val="75000"/>
                    <a:lumOff val="25000"/>
                  </a:schemeClr>
                </a:solidFill>
                <a:latin typeface="Arial"/>
                <a:ea typeface="Arial"/>
                <a:cs typeface="Arial"/>
                <a:sym typeface="Arial"/>
              </a:rPr>
              <a:t>Video Game ‘Platform’ Dashboard </a:t>
            </a:r>
            <a:r>
              <a:rPr lang="en-US" sz="1020" b="1" dirty="0">
                <a:solidFill>
                  <a:schemeClr val="dk1"/>
                </a:solidFill>
                <a:latin typeface="Arial"/>
                <a:ea typeface="Arial"/>
                <a:cs typeface="Arial"/>
                <a:sym typeface="Arial"/>
              </a:rPr>
              <a:t>– A related dashboard with some different charts that show either all platforms or a single filtered platform.  View a combo chart of release volume/unit sales by year, top games by critic score, release volume by genre, and a scatterplot of critic score vs user score sized by global sales that shows related information on rollover for individual games.  </a:t>
            </a:r>
          </a:p>
          <a:p>
            <a:pPr>
              <a:buClr>
                <a:schemeClr val="dk1"/>
              </a:buClr>
              <a:buSzPts val="1000"/>
            </a:pPr>
            <a:endParaRPr lang="en-US" sz="1020" b="1" dirty="0">
              <a:solidFill>
                <a:schemeClr val="dk1"/>
              </a:solidFill>
              <a:latin typeface="Arial"/>
              <a:ea typeface="Arial"/>
              <a:cs typeface="Arial"/>
              <a:sym typeface="Arial"/>
            </a:endParaRPr>
          </a:p>
          <a:p>
            <a:pPr>
              <a:buClr>
                <a:schemeClr val="dk1"/>
              </a:buClr>
              <a:buSzPts val="1000"/>
            </a:pPr>
            <a:r>
              <a:rPr lang="en-US" sz="1020" b="1" dirty="0">
                <a:solidFill>
                  <a:schemeClr val="dk1"/>
                </a:solidFill>
                <a:latin typeface="Arial"/>
                <a:ea typeface="Arial"/>
                <a:cs typeface="Arial"/>
                <a:sym typeface="Arial"/>
              </a:rPr>
              <a:t>Interested customers may use these dashboards to answer historical questions, provide guidance from a sales/score level of past games that may be worth purchasing, or for entertainment and another reason to visit the store.</a:t>
            </a:r>
          </a:p>
        </p:txBody>
      </p:sp>
    </p:spTree>
    <p:extLst>
      <p:ext uri="{BB962C8B-B14F-4D97-AF65-F5344CB8AC3E}">
        <p14:creationId xmlns:p14="http://schemas.microsoft.com/office/powerpoint/2010/main" val="2053780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2EF3836-8F56-408D-BEC0-C2BD95EDBA92}"/>
              </a:ext>
            </a:extLst>
          </p:cNvPr>
          <p:cNvSpPr txBox="1"/>
          <p:nvPr/>
        </p:nvSpPr>
        <p:spPr>
          <a:xfrm>
            <a:off x="427980" y="5103674"/>
            <a:ext cx="11336038" cy="1384995"/>
          </a:xfrm>
          <a:prstGeom prst="rect">
            <a:avLst/>
          </a:prstGeom>
          <a:noFill/>
          <a:ln w="19050">
            <a:solidFill>
              <a:schemeClr val="tx1"/>
            </a:solidFill>
            <a:prstDash val="dash"/>
          </a:ln>
        </p:spPr>
        <p:txBody>
          <a:bodyPr wrap="square" rtlCol="0">
            <a:spAutoFit/>
          </a:bodyPr>
          <a:lstStyle/>
          <a:p>
            <a:endParaRPr lang="en-US" sz="1200" dirty="0"/>
          </a:p>
          <a:p>
            <a:pPr marL="171450" indent="-171450">
              <a:buFont typeface="Arial" panose="020B0604020202020204" pitchFamily="34" charset="0"/>
              <a:buChar char="•"/>
            </a:pPr>
            <a:r>
              <a:rPr lang="en-US" sz="1200" dirty="0"/>
              <a:t>Platform bars keep same colors across years to more easily see trends</a:t>
            </a:r>
            <a:br>
              <a:rPr lang="en-US" sz="1200" dirty="0"/>
            </a:br>
            <a:endParaRPr lang="en-US" sz="1200" dirty="0"/>
          </a:p>
          <a:p>
            <a:pPr marL="171450" indent="-171450">
              <a:buFont typeface="Arial" panose="020B0604020202020204" pitchFamily="34" charset="0"/>
              <a:buChar char="•"/>
            </a:pPr>
            <a:r>
              <a:rPr lang="en-US" sz="1200" dirty="0"/>
              <a:t>Speed of animations can be adjusted</a:t>
            </a:r>
            <a:br>
              <a:rPr lang="en-US" sz="1200" dirty="0"/>
            </a:br>
            <a:endParaRPr lang="en-US" sz="1200" dirty="0"/>
          </a:p>
          <a:p>
            <a:pPr marL="171450" indent="-171450">
              <a:buFont typeface="Arial" panose="020B0604020202020204" pitchFamily="34" charset="0"/>
              <a:buChar char="•"/>
            </a:pPr>
            <a:r>
              <a:rPr lang="en-US" sz="1200" dirty="0"/>
              <a:t>Initial animations created are </a:t>
            </a:r>
            <a:r>
              <a:rPr lang="en-US" sz="1200" i="1" dirty="0"/>
              <a:t>Game Release Volume by Platform by Year</a:t>
            </a:r>
            <a:r>
              <a:rPr lang="en-US" sz="1200" dirty="0"/>
              <a:t>, </a:t>
            </a:r>
            <a:r>
              <a:rPr lang="en-US" sz="1200" i="1" dirty="0"/>
              <a:t>Highest Selling Platforms by Year</a:t>
            </a:r>
            <a:r>
              <a:rPr lang="en-US" sz="1200" dirty="0"/>
              <a:t>, </a:t>
            </a:r>
            <a:r>
              <a:rPr lang="en-US" sz="1200" i="1" dirty="0"/>
              <a:t>and Highest Selling Game by Platform by Year.  </a:t>
            </a:r>
            <a:r>
              <a:rPr lang="en-US" sz="1200" dirty="0"/>
              <a:t>Additional ones can be created based on customer feedback and requests. </a:t>
            </a:r>
          </a:p>
        </p:txBody>
      </p:sp>
      <p:sp>
        <p:nvSpPr>
          <p:cNvPr id="2" name="TextBox 1">
            <a:extLst>
              <a:ext uri="{FF2B5EF4-FFF2-40B4-BE49-F238E27FC236}">
                <a16:creationId xmlns:a16="http://schemas.microsoft.com/office/drawing/2014/main" id="{525B571C-D9A7-4777-8380-275AE8280C5A}"/>
              </a:ext>
            </a:extLst>
          </p:cNvPr>
          <p:cNvSpPr txBox="1"/>
          <p:nvPr/>
        </p:nvSpPr>
        <p:spPr>
          <a:xfrm>
            <a:off x="743098" y="1265404"/>
            <a:ext cx="5509545" cy="338554"/>
          </a:xfrm>
          <a:prstGeom prst="rect">
            <a:avLst/>
          </a:prstGeom>
          <a:noFill/>
        </p:spPr>
        <p:txBody>
          <a:bodyPr wrap="square" rtlCol="0">
            <a:spAutoFit/>
          </a:bodyPr>
          <a:lstStyle/>
          <a:p>
            <a:r>
              <a:rPr lang="en-US" sz="1600" b="1" dirty="0">
                <a:solidFill>
                  <a:schemeClr val="tx1">
                    <a:lumMod val="75000"/>
                    <a:lumOff val="25000"/>
                  </a:schemeClr>
                </a:solidFill>
              </a:rPr>
              <a:t>Ex: Game Release Volume by Platform by Year </a:t>
            </a:r>
          </a:p>
        </p:txBody>
      </p:sp>
      <p:pic>
        <p:nvPicPr>
          <p:cNvPr id="5" name="Picture 4" descr="A screenshot of a cell phone&#10;&#10;Description automatically generated">
            <a:extLst>
              <a:ext uri="{FF2B5EF4-FFF2-40B4-BE49-F238E27FC236}">
                <a16:creationId xmlns:a16="http://schemas.microsoft.com/office/drawing/2014/main" id="{65F87E32-7FF8-4531-AAD5-BACC8667FF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169" y="1783578"/>
            <a:ext cx="6076474" cy="3158666"/>
          </a:xfrm>
          <a:prstGeom prst="rect">
            <a:avLst/>
          </a:prstGeom>
        </p:spPr>
      </p:pic>
      <p:pic>
        <p:nvPicPr>
          <p:cNvPr id="15" name="Picture 14" descr="A screenshot of a cell phone&#10;&#10;Description automatically generated">
            <a:extLst>
              <a:ext uri="{FF2B5EF4-FFF2-40B4-BE49-F238E27FC236}">
                <a16:creationId xmlns:a16="http://schemas.microsoft.com/office/drawing/2014/main" id="{21A51A1C-B059-48D2-8C4A-777C5F98F6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6286" y="1483637"/>
            <a:ext cx="5509545" cy="3531125"/>
          </a:xfrm>
          <a:prstGeom prst="rect">
            <a:avLst/>
          </a:prstGeom>
        </p:spPr>
      </p:pic>
      <p:sp>
        <p:nvSpPr>
          <p:cNvPr id="11" name="Google Shape;182;p5">
            <a:extLst>
              <a:ext uri="{FF2B5EF4-FFF2-40B4-BE49-F238E27FC236}">
                <a16:creationId xmlns:a16="http://schemas.microsoft.com/office/drawing/2014/main" id="{48940593-E6CC-4F4F-884E-42D3BB4EF247}"/>
              </a:ext>
            </a:extLst>
          </p:cNvPr>
          <p:cNvSpPr txBox="1">
            <a:spLocks/>
          </p:cNvSpPr>
          <p:nvPr/>
        </p:nvSpPr>
        <p:spPr>
          <a:xfrm>
            <a:off x="153798" y="230775"/>
            <a:ext cx="11824965" cy="71282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r>
              <a:rPr lang="en-US" sz="1500" kern="0" dirty="0">
                <a:solidFill>
                  <a:schemeClr val="tx1"/>
                </a:solidFill>
              </a:rPr>
              <a:t>Animated data slideshows were created to show interesting visual representations of key video game trends over time, and these can play on in-store monitors as an added attraction. </a:t>
            </a:r>
            <a:br>
              <a:rPr lang="en-US" sz="1632" kern="0" dirty="0">
                <a:solidFill>
                  <a:schemeClr val="tx1"/>
                </a:solidFill>
              </a:rPr>
            </a:br>
            <a:endParaRPr lang="en-US" sz="1632" kern="0" dirty="0">
              <a:solidFill>
                <a:schemeClr val="tx1"/>
              </a:solidFill>
            </a:endParaRPr>
          </a:p>
        </p:txBody>
      </p:sp>
      <p:sp>
        <p:nvSpPr>
          <p:cNvPr id="13" name="TextBox 12">
            <a:extLst>
              <a:ext uri="{FF2B5EF4-FFF2-40B4-BE49-F238E27FC236}">
                <a16:creationId xmlns:a16="http://schemas.microsoft.com/office/drawing/2014/main" id="{A590FA63-B674-435F-A74E-1AFB2505DE36}"/>
              </a:ext>
            </a:extLst>
          </p:cNvPr>
          <p:cNvSpPr txBox="1"/>
          <p:nvPr/>
        </p:nvSpPr>
        <p:spPr>
          <a:xfrm>
            <a:off x="6663412" y="1314360"/>
            <a:ext cx="5509545" cy="338554"/>
          </a:xfrm>
          <a:prstGeom prst="rect">
            <a:avLst/>
          </a:prstGeom>
          <a:noFill/>
        </p:spPr>
        <p:txBody>
          <a:bodyPr wrap="square" rtlCol="0">
            <a:spAutoFit/>
          </a:bodyPr>
          <a:lstStyle/>
          <a:p>
            <a:r>
              <a:rPr lang="en-US" sz="1600" b="1" dirty="0">
                <a:solidFill>
                  <a:schemeClr val="tx1">
                    <a:lumMod val="75000"/>
                    <a:lumOff val="25000"/>
                  </a:schemeClr>
                </a:solidFill>
              </a:rPr>
              <a:t>Ex: Highest Selling Game by Platform by Year</a:t>
            </a:r>
          </a:p>
        </p:txBody>
      </p:sp>
      <p:sp>
        <p:nvSpPr>
          <p:cNvPr id="14" name="Google Shape;77;p8">
            <a:extLst>
              <a:ext uri="{FF2B5EF4-FFF2-40B4-BE49-F238E27FC236}">
                <a16:creationId xmlns:a16="http://schemas.microsoft.com/office/drawing/2014/main" id="{D389DFAA-9E11-4B37-B5B2-87A23F5A13EF}"/>
              </a:ext>
            </a:extLst>
          </p:cNvPr>
          <p:cNvSpPr/>
          <p:nvPr/>
        </p:nvSpPr>
        <p:spPr>
          <a:xfrm>
            <a:off x="106260" y="6550264"/>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004D0C66-CD4A-4560-A1B1-92DCC0C6A75C}"/>
              </a:ext>
            </a:extLst>
          </p:cNvPr>
          <p:cNvSpPr txBox="1"/>
          <p:nvPr/>
        </p:nvSpPr>
        <p:spPr>
          <a:xfrm>
            <a:off x="3925149" y="973847"/>
            <a:ext cx="4341701" cy="461665"/>
          </a:xfrm>
          <a:prstGeom prst="rect">
            <a:avLst/>
          </a:prstGeom>
          <a:noFill/>
        </p:spPr>
        <p:txBody>
          <a:bodyPr wrap="none" rtlCol="0">
            <a:spAutoFit/>
          </a:bodyPr>
          <a:lstStyle/>
          <a:p>
            <a:r>
              <a:rPr lang="en-US" sz="1200" b="1" dirty="0"/>
              <a:t>* View slide in slideshow mode to see the charts animate</a:t>
            </a:r>
          </a:p>
          <a:p>
            <a:endParaRPr lang="en-US" sz="1200" dirty="0"/>
          </a:p>
        </p:txBody>
      </p:sp>
    </p:spTree>
    <p:extLst>
      <p:ext uri="{BB962C8B-B14F-4D97-AF65-F5344CB8AC3E}">
        <p14:creationId xmlns:p14="http://schemas.microsoft.com/office/powerpoint/2010/main" val="1795855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4" name="TextBox 3">
            <a:extLst>
              <a:ext uri="{FF2B5EF4-FFF2-40B4-BE49-F238E27FC236}">
                <a16:creationId xmlns:a16="http://schemas.microsoft.com/office/drawing/2014/main" id="{E2816C99-5E4F-4B2A-B5FC-EA3FE48BF2A8}"/>
              </a:ext>
            </a:extLst>
          </p:cNvPr>
          <p:cNvSpPr txBox="1"/>
          <p:nvPr/>
        </p:nvSpPr>
        <p:spPr>
          <a:xfrm>
            <a:off x="195690" y="915808"/>
            <a:ext cx="184731" cy="646331"/>
          </a:xfrm>
          <a:prstGeom prst="rect">
            <a:avLst/>
          </a:prstGeom>
          <a:noFill/>
        </p:spPr>
        <p:txBody>
          <a:bodyPr wrap="none" rtlCol="0">
            <a:spAutoFit/>
          </a:bodyPr>
          <a:lstStyle/>
          <a:p>
            <a:br>
              <a:rPr lang="en-US" dirty="0"/>
            </a:br>
            <a:endParaRPr lang="en-US" dirty="0"/>
          </a:p>
        </p:txBody>
      </p:sp>
      <p:pic>
        <p:nvPicPr>
          <p:cNvPr id="2" name="Picture 1">
            <a:extLst>
              <a:ext uri="{FF2B5EF4-FFF2-40B4-BE49-F238E27FC236}">
                <a16:creationId xmlns:a16="http://schemas.microsoft.com/office/drawing/2014/main" id="{C35B6AC9-1B78-4FD1-B209-416C2DCF9D9C}"/>
              </a:ext>
            </a:extLst>
          </p:cNvPr>
          <p:cNvPicPr>
            <a:picLocks noChangeAspect="1"/>
          </p:cNvPicPr>
          <p:nvPr/>
        </p:nvPicPr>
        <p:blipFill>
          <a:blip r:embed="rId3"/>
          <a:stretch>
            <a:fillRect/>
          </a:stretch>
        </p:blipFill>
        <p:spPr>
          <a:xfrm>
            <a:off x="25855" y="1304674"/>
            <a:ext cx="6966294" cy="3812827"/>
          </a:xfrm>
          <a:prstGeom prst="rect">
            <a:avLst/>
          </a:prstGeom>
        </p:spPr>
      </p:pic>
      <p:sp>
        <p:nvSpPr>
          <p:cNvPr id="3" name="TextBox 2">
            <a:extLst>
              <a:ext uri="{FF2B5EF4-FFF2-40B4-BE49-F238E27FC236}">
                <a16:creationId xmlns:a16="http://schemas.microsoft.com/office/drawing/2014/main" id="{6B359365-C1BE-438D-A53B-E3F472FE313D}"/>
              </a:ext>
            </a:extLst>
          </p:cNvPr>
          <p:cNvSpPr txBox="1"/>
          <p:nvPr/>
        </p:nvSpPr>
        <p:spPr>
          <a:xfrm>
            <a:off x="1242985" y="915808"/>
            <a:ext cx="4557338" cy="307777"/>
          </a:xfrm>
          <a:prstGeom prst="rect">
            <a:avLst/>
          </a:prstGeom>
          <a:noFill/>
        </p:spPr>
        <p:txBody>
          <a:bodyPr wrap="none" rtlCol="0">
            <a:spAutoFit/>
          </a:bodyPr>
          <a:lstStyle/>
          <a:p>
            <a:r>
              <a:rPr lang="en-US" sz="1400" b="1" dirty="0"/>
              <a:t># of Games Released and Global Unit Sales by Year</a:t>
            </a:r>
          </a:p>
        </p:txBody>
      </p:sp>
      <p:sp>
        <p:nvSpPr>
          <p:cNvPr id="10" name="TextBox 9">
            <a:extLst>
              <a:ext uri="{FF2B5EF4-FFF2-40B4-BE49-F238E27FC236}">
                <a16:creationId xmlns:a16="http://schemas.microsoft.com/office/drawing/2014/main" id="{2BAB849C-4890-4DCD-89AF-ABDCFBF7B8ED}"/>
              </a:ext>
            </a:extLst>
          </p:cNvPr>
          <p:cNvSpPr txBox="1"/>
          <p:nvPr/>
        </p:nvSpPr>
        <p:spPr>
          <a:xfrm>
            <a:off x="8256918" y="974997"/>
            <a:ext cx="2818243" cy="307777"/>
          </a:xfrm>
          <a:prstGeom prst="rect">
            <a:avLst/>
          </a:prstGeom>
          <a:noFill/>
        </p:spPr>
        <p:txBody>
          <a:bodyPr wrap="square" rtlCol="0">
            <a:spAutoFit/>
          </a:bodyPr>
          <a:lstStyle/>
          <a:p>
            <a:r>
              <a:rPr lang="en-US" sz="1400" b="1" dirty="0"/>
              <a:t># Unit Sales by Region by Year</a:t>
            </a:r>
          </a:p>
        </p:txBody>
      </p:sp>
      <p:pic>
        <p:nvPicPr>
          <p:cNvPr id="5" name="Picture 4">
            <a:extLst>
              <a:ext uri="{FF2B5EF4-FFF2-40B4-BE49-F238E27FC236}">
                <a16:creationId xmlns:a16="http://schemas.microsoft.com/office/drawing/2014/main" id="{61DC4C78-714D-406B-A5FC-5E2F10F142B1}"/>
              </a:ext>
            </a:extLst>
          </p:cNvPr>
          <p:cNvPicPr>
            <a:picLocks noChangeAspect="1"/>
          </p:cNvPicPr>
          <p:nvPr/>
        </p:nvPicPr>
        <p:blipFill>
          <a:blip r:embed="rId4"/>
          <a:stretch>
            <a:fillRect/>
          </a:stretch>
        </p:blipFill>
        <p:spPr>
          <a:xfrm>
            <a:off x="7041689" y="1336010"/>
            <a:ext cx="5124456" cy="3759591"/>
          </a:xfrm>
          <a:prstGeom prst="rect">
            <a:avLst/>
          </a:prstGeom>
          <a:ln>
            <a:solidFill>
              <a:schemeClr val="tx1"/>
            </a:solidFill>
          </a:ln>
        </p:spPr>
      </p:pic>
      <p:sp>
        <p:nvSpPr>
          <p:cNvPr id="9" name="Google Shape;77;p8">
            <a:extLst>
              <a:ext uri="{FF2B5EF4-FFF2-40B4-BE49-F238E27FC236}">
                <a16:creationId xmlns:a16="http://schemas.microsoft.com/office/drawing/2014/main" id="{5D1F27F9-2591-4696-8B9E-01D9B6E473CF}"/>
              </a:ext>
            </a:extLst>
          </p:cNvPr>
          <p:cNvSpPr/>
          <p:nvPr/>
        </p:nvSpPr>
        <p:spPr>
          <a:xfrm>
            <a:off x="25855" y="6548150"/>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
        <p:nvSpPr>
          <p:cNvPr id="12" name="Google Shape;182;p5">
            <a:extLst>
              <a:ext uri="{FF2B5EF4-FFF2-40B4-BE49-F238E27FC236}">
                <a16:creationId xmlns:a16="http://schemas.microsoft.com/office/drawing/2014/main" id="{6043D853-D4FA-4D9E-9597-74A9FC378971}"/>
              </a:ext>
            </a:extLst>
          </p:cNvPr>
          <p:cNvSpPr txBox="1">
            <a:spLocks/>
          </p:cNvSpPr>
          <p:nvPr/>
        </p:nvSpPr>
        <p:spPr>
          <a:xfrm>
            <a:off x="153798" y="230775"/>
            <a:ext cx="11824965" cy="71282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r>
              <a:rPr lang="en-US" sz="1500" kern="0" dirty="0">
                <a:solidFill>
                  <a:schemeClr val="tx1"/>
                </a:solidFill>
              </a:rPr>
              <a:t>Video game overall yearly graphs show visual trends for game release volume and unit sales that paint a picture of overall video game industry adoption and popularity (as well as platform-specific).</a:t>
            </a:r>
            <a:br>
              <a:rPr lang="en-US" sz="1632" kern="0" dirty="0">
                <a:solidFill>
                  <a:schemeClr val="tx1"/>
                </a:solidFill>
              </a:rPr>
            </a:br>
            <a:endParaRPr lang="en-US" sz="1632" kern="0" dirty="0">
              <a:solidFill>
                <a:schemeClr val="tx1"/>
              </a:solidFill>
            </a:endParaRPr>
          </a:p>
        </p:txBody>
      </p:sp>
      <p:sp>
        <p:nvSpPr>
          <p:cNvPr id="13" name="TextBox 12">
            <a:extLst>
              <a:ext uri="{FF2B5EF4-FFF2-40B4-BE49-F238E27FC236}">
                <a16:creationId xmlns:a16="http://schemas.microsoft.com/office/drawing/2014/main" id="{085C464D-8040-449B-BE48-E724E495B16C}"/>
              </a:ext>
            </a:extLst>
          </p:cNvPr>
          <p:cNvSpPr txBox="1"/>
          <p:nvPr/>
        </p:nvSpPr>
        <p:spPr>
          <a:xfrm>
            <a:off x="427981" y="5190505"/>
            <a:ext cx="11336038" cy="1384995"/>
          </a:xfrm>
          <a:prstGeom prst="rect">
            <a:avLst/>
          </a:prstGeom>
          <a:noFill/>
          <a:ln w="19050">
            <a:solidFill>
              <a:schemeClr val="tx1"/>
            </a:solidFill>
            <a:prstDash val="dash"/>
          </a:ln>
        </p:spPr>
        <p:txBody>
          <a:bodyPr wrap="square" rtlCol="0">
            <a:spAutoFit/>
          </a:bodyPr>
          <a:lstStyle/>
          <a:p>
            <a:endParaRPr lang="en-US" sz="1200" dirty="0"/>
          </a:p>
          <a:p>
            <a:pPr marL="171450" indent="-171450">
              <a:buFont typeface="Arial" panose="020B0604020202020204" pitchFamily="34" charset="0"/>
              <a:buChar char="•"/>
            </a:pPr>
            <a:r>
              <a:rPr lang="en-US" sz="1200" dirty="0"/>
              <a:t>The 'peak' period of the date range for game release volume is 2002-2012 with 2008 and 2009 being the top years having more than 1400 games released per year. All years had over 200 games released and 1995 had the least amount with just over 200 games.</a:t>
            </a:r>
            <a:br>
              <a:rPr lang="en-US" sz="1200" dirty="0"/>
            </a:br>
            <a:endParaRPr lang="en-US" sz="1200" dirty="0"/>
          </a:p>
          <a:p>
            <a:pPr marL="171450" indent="-171450">
              <a:buFont typeface="Arial" panose="020B0604020202020204" pitchFamily="34" charset="0"/>
              <a:buChar char="•"/>
            </a:pPr>
            <a:r>
              <a:rPr lang="en-US" sz="1200" dirty="0"/>
              <a:t>Game sales are consistently significantly higher in North America than other regions every year except the first (1995) and last (2016).  All 4 regional sales have roughly the same line shape, indicating they generally increase or decrease together each year (Japan appears to be  the most different, staying relatively flat or decreasing during the peak periods of 2004-2009, while the other 3 regions steadily increase.)</a:t>
            </a:r>
          </a:p>
        </p:txBody>
      </p:sp>
    </p:spTree>
    <p:extLst>
      <p:ext uri="{BB962C8B-B14F-4D97-AF65-F5344CB8AC3E}">
        <p14:creationId xmlns:p14="http://schemas.microsoft.com/office/powerpoint/2010/main" val="705546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4" name="TextBox 3">
            <a:extLst>
              <a:ext uri="{FF2B5EF4-FFF2-40B4-BE49-F238E27FC236}">
                <a16:creationId xmlns:a16="http://schemas.microsoft.com/office/drawing/2014/main" id="{E2816C99-5E4F-4B2A-B5FC-EA3FE48BF2A8}"/>
              </a:ext>
            </a:extLst>
          </p:cNvPr>
          <p:cNvSpPr txBox="1"/>
          <p:nvPr/>
        </p:nvSpPr>
        <p:spPr>
          <a:xfrm>
            <a:off x="195690" y="915808"/>
            <a:ext cx="184731" cy="646331"/>
          </a:xfrm>
          <a:prstGeom prst="rect">
            <a:avLst/>
          </a:prstGeom>
          <a:noFill/>
        </p:spPr>
        <p:txBody>
          <a:bodyPr wrap="none" rtlCol="0">
            <a:spAutoFit/>
          </a:bodyPr>
          <a:lstStyle/>
          <a:p>
            <a:br>
              <a:rPr lang="en-US" dirty="0"/>
            </a:br>
            <a:endParaRPr lang="en-US" dirty="0"/>
          </a:p>
        </p:txBody>
      </p:sp>
      <p:sp>
        <p:nvSpPr>
          <p:cNvPr id="15" name="TextBox 14">
            <a:extLst>
              <a:ext uri="{FF2B5EF4-FFF2-40B4-BE49-F238E27FC236}">
                <a16:creationId xmlns:a16="http://schemas.microsoft.com/office/drawing/2014/main" id="{50340269-CCC7-4AAF-8F7D-7A557B8DDCBD}"/>
              </a:ext>
            </a:extLst>
          </p:cNvPr>
          <p:cNvSpPr txBox="1"/>
          <p:nvPr/>
        </p:nvSpPr>
        <p:spPr>
          <a:xfrm>
            <a:off x="288055" y="1695124"/>
            <a:ext cx="3853796" cy="3877985"/>
          </a:xfrm>
          <a:prstGeom prst="rect">
            <a:avLst/>
          </a:prstGeom>
          <a:noFill/>
        </p:spPr>
        <p:txBody>
          <a:bodyPr wrap="square" rtlCol="0">
            <a:spAutoFit/>
          </a:bodyPr>
          <a:lstStyle/>
          <a:p>
            <a:pPr marL="285750" indent="-285750">
              <a:buFont typeface="Arial" panose="020B0604020202020204" pitchFamily="34" charset="0"/>
              <a:buChar char="•"/>
            </a:pPr>
            <a:r>
              <a:rPr lang="en-US" sz="1200" dirty="0"/>
              <a:t>While the ‘game of the year’ is shown by critic score, an associated user score bar is shown right below to show the comparison  (did they agre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PC and Sony </a:t>
            </a:r>
            <a:r>
              <a:rPr lang="en-US" sz="1200" dirty="0" err="1"/>
              <a:t>Playstation</a:t>
            </a:r>
            <a:r>
              <a:rPr lang="en-US" sz="1200" dirty="0"/>
              <a:t> lead the way with 3 games apiece (though PC doesn’t have different platform ‘versions’ throughout the year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There's a 3-way tie for the game with the highest critic score - 1999's </a:t>
            </a:r>
            <a:r>
              <a:rPr lang="en-US" sz="1200" b="1" dirty="0" err="1"/>
              <a:t>SoulCalibur</a:t>
            </a:r>
            <a:r>
              <a:rPr lang="en-US" sz="1200" dirty="0"/>
              <a:t> on DC, 2000's </a:t>
            </a:r>
            <a:r>
              <a:rPr lang="en-US" sz="1200" b="1" dirty="0"/>
              <a:t>Tony Hawk's Pro Skater 2</a:t>
            </a:r>
            <a:r>
              <a:rPr lang="en-US" sz="1200" dirty="0"/>
              <a:t> on PlayStation, and 2008's </a:t>
            </a:r>
            <a:r>
              <a:rPr lang="en-US" sz="1200" b="1" dirty="0"/>
              <a:t>Grand Theft Auto IV</a:t>
            </a:r>
            <a:r>
              <a:rPr lang="en-US" sz="1200" dirty="0"/>
              <a:t> on </a:t>
            </a:r>
            <a:r>
              <a:rPr lang="en-US" sz="1200" dirty="0" err="1"/>
              <a:t>XBox</a:t>
            </a:r>
            <a:r>
              <a:rPr lang="en-US" sz="1200" dirty="0"/>
              <a:t> 360 all have a score of 98. </a:t>
            </a:r>
            <a:br>
              <a:rPr lang="en-US" sz="1200" dirty="0"/>
            </a:br>
            <a:br>
              <a:rPr lang="en-US" sz="1200" dirty="0"/>
            </a:br>
            <a:r>
              <a:rPr lang="en-US" sz="1200" dirty="0"/>
              <a:t>Since they are tied, a reasonable way to break the tie is use the associated User Score which leads to </a:t>
            </a:r>
            <a:r>
              <a:rPr lang="en-US" sz="1200" b="1" dirty="0" err="1"/>
              <a:t>SoulCaliber</a:t>
            </a:r>
            <a:r>
              <a:rPr lang="en-US" sz="1200" b="1" dirty="0"/>
              <a:t> on Sega Dreamcast</a:t>
            </a:r>
            <a:r>
              <a:rPr lang="en-US" sz="1200" dirty="0"/>
              <a:t> being the highest rated game in the dataset.</a:t>
            </a:r>
          </a:p>
          <a:p>
            <a:pPr marL="285750" indent="-285750">
              <a:buFont typeface="Arial" panose="020B0604020202020204" pitchFamily="34" charset="0"/>
              <a:buChar char="•"/>
            </a:pPr>
            <a:endParaRPr lang="en-US" sz="1200" dirty="0"/>
          </a:p>
          <a:p>
            <a:pPr marL="742950" lvl="1" indent="-285750">
              <a:buFont typeface="Courier New" panose="02070309020205020404" pitchFamily="49" charset="0"/>
              <a:buChar char="o"/>
            </a:pPr>
            <a:endParaRPr lang="en-US" dirty="0"/>
          </a:p>
        </p:txBody>
      </p:sp>
      <p:sp>
        <p:nvSpPr>
          <p:cNvPr id="11" name="Rectangle 10">
            <a:extLst>
              <a:ext uri="{FF2B5EF4-FFF2-40B4-BE49-F238E27FC236}">
                <a16:creationId xmlns:a16="http://schemas.microsoft.com/office/drawing/2014/main" id="{8CC9364B-7ABA-4CDC-93D5-86D221E30998}"/>
              </a:ext>
            </a:extLst>
          </p:cNvPr>
          <p:cNvSpPr/>
          <p:nvPr/>
        </p:nvSpPr>
        <p:spPr>
          <a:xfrm>
            <a:off x="216672" y="1628632"/>
            <a:ext cx="4073361" cy="3693318"/>
          </a:xfrm>
          <a:prstGeom prst="rect">
            <a:avLst/>
          </a:prstGeom>
          <a:noFill/>
          <a:ln w="222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F275EE43-D19A-47DC-B228-C082EF4D9F73}"/>
              </a:ext>
            </a:extLst>
          </p:cNvPr>
          <p:cNvPicPr>
            <a:picLocks noChangeAspect="1"/>
          </p:cNvPicPr>
          <p:nvPr/>
        </p:nvPicPr>
        <p:blipFill>
          <a:blip r:embed="rId3"/>
          <a:stretch>
            <a:fillRect/>
          </a:stretch>
        </p:blipFill>
        <p:spPr>
          <a:xfrm>
            <a:off x="6704047" y="1001026"/>
            <a:ext cx="4785999" cy="5803801"/>
          </a:xfrm>
          <a:prstGeom prst="rect">
            <a:avLst/>
          </a:prstGeom>
          <a:ln>
            <a:solidFill>
              <a:schemeClr val="tx1"/>
            </a:solidFill>
          </a:ln>
        </p:spPr>
      </p:pic>
      <p:sp>
        <p:nvSpPr>
          <p:cNvPr id="10" name="Google Shape;182;p5">
            <a:extLst>
              <a:ext uri="{FF2B5EF4-FFF2-40B4-BE49-F238E27FC236}">
                <a16:creationId xmlns:a16="http://schemas.microsoft.com/office/drawing/2014/main" id="{777991C4-2286-40DF-AF07-07875D5AA2F0}"/>
              </a:ext>
            </a:extLst>
          </p:cNvPr>
          <p:cNvSpPr txBox="1">
            <a:spLocks/>
          </p:cNvSpPr>
          <p:nvPr/>
        </p:nvSpPr>
        <p:spPr>
          <a:xfrm>
            <a:off x="153798" y="230775"/>
            <a:ext cx="11824965" cy="71282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r>
              <a:rPr lang="en-US" sz="1500" kern="0" dirty="0">
                <a:solidFill>
                  <a:schemeClr val="tx1"/>
                </a:solidFill>
              </a:rPr>
              <a:t>A key visualization listing the best critic-reviewed game of every year across all platforms was generated to show one option for those customers looking for the ‘best’ games to buy from past years. </a:t>
            </a:r>
            <a:br>
              <a:rPr lang="en-US" sz="1632" kern="0" dirty="0">
                <a:solidFill>
                  <a:schemeClr val="tx1"/>
                </a:solidFill>
              </a:rPr>
            </a:br>
            <a:endParaRPr lang="en-US" sz="1632" kern="0" dirty="0">
              <a:solidFill>
                <a:schemeClr val="tx1"/>
              </a:solidFill>
            </a:endParaRPr>
          </a:p>
        </p:txBody>
      </p:sp>
      <p:sp>
        <p:nvSpPr>
          <p:cNvPr id="12" name="Google Shape;77;p8">
            <a:extLst>
              <a:ext uri="{FF2B5EF4-FFF2-40B4-BE49-F238E27FC236}">
                <a16:creationId xmlns:a16="http://schemas.microsoft.com/office/drawing/2014/main" id="{0C645A23-D033-4810-B57C-1F106A672EF3}"/>
              </a:ext>
            </a:extLst>
          </p:cNvPr>
          <p:cNvSpPr/>
          <p:nvPr/>
        </p:nvSpPr>
        <p:spPr>
          <a:xfrm>
            <a:off x="153798" y="6473357"/>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674657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pic>
        <p:nvPicPr>
          <p:cNvPr id="2" name="Picture 1">
            <a:extLst>
              <a:ext uri="{FF2B5EF4-FFF2-40B4-BE49-F238E27FC236}">
                <a16:creationId xmlns:a16="http://schemas.microsoft.com/office/drawing/2014/main" id="{26920F4A-7597-4A1E-91E9-0944BD962456}"/>
              </a:ext>
            </a:extLst>
          </p:cNvPr>
          <p:cNvPicPr>
            <a:picLocks noChangeAspect="1"/>
          </p:cNvPicPr>
          <p:nvPr/>
        </p:nvPicPr>
        <p:blipFill>
          <a:blip r:embed="rId3"/>
          <a:stretch>
            <a:fillRect/>
          </a:stretch>
        </p:blipFill>
        <p:spPr>
          <a:xfrm>
            <a:off x="25167" y="1238114"/>
            <a:ext cx="6015875" cy="3154758"/>
          </a:xfrm>
          <a:prstGeom prst="rect">
            <a:avLst/>
          </a:prstGeom>
          <a:ln>
            <a:solidFill>
              <a:schemeClr val="tx1"/>
            </a:solidFill>
          </a:ln>
        </p:spPr>
      </p:pic>
      <p:pic>
        <p:nvPicPr>
          <p:cNvPr id="3" name="Picture 2">
            <a:extLst>
              <a:ext uri="{FF2B5EF4-FFF2-40B4-BE49-F238E27FC236}">
                <a16:creationId xmlns:a16="http://schemas.microsoft.com/office/drawing/2014/main" id="{74733699-B068-4612-8285-278AF219E552}"/>
              </a:ext>
            </a:extLst>
          </p:cNvPr>
          <p:cNvPicPr>
            <a:picLocks noChangeAspect="1"/>
          </p:cNvPicPr>
          <p:nvPr/>
        </p:nvPicPr>
        <p:blipFill>
          <a:blip r:embed="rId4"/>
          <a:stretch>
            <a:fillRect/>
          </a:stretch>
        </p:blipFill>
        <p:spPr>
          <a:xfrm>
            <a:off x="6096000" y="1233406"/>
            <a:ext cx="6015875" cy="3154758"/>
          </a:xfrm>
          <a:prstGeom prst="rect">
            <a:avLst/>
          </a:prstGeom>
          <a:ln>
            <a:solidFill>
              <a:schemeClr val="tx1"/>
            </a:solidFill>
          </a:ln>
        </p:spPr>
      </p:pic>
      <p:sp>
        <p:nvSpPr>
          <p:cNvPr id="5" name="TextBox 4">
            <a:extLst>
              <a:ext uri="{FF2B5EF4-FFF2-40B4-BE49-F238E27FC236}">
                <a16:creationId xmlns:a16="http://schemas.microsoft.com/office/drawing/2014/main" id="{CD72D6C2-89CD-4AB7-A8E7-BB6BAEDEF6A9}"/>
              </a:ext>
            </a:extLst>
          </p:cNvPr>
          <p:cNvSpPr txBox="1"/>
          <p:nvPr/>
        </p:nvSpPr>
        <p:spPr>
          <a:xfrm>
            <a:off x="2358189" y="933352"/>
            <a:ext cx="2953053" cy="338554"/>
          </a:xfrm>
          <a:prstGeom prst="rect">
            <a:avLst/>
          </a:prstGeom>
          <a:noFill/>
        </p:spPr>
        <p:txBody>
          <a:bodyPr wrap="none" rtlCol="0">
            <a:spAutoFit/>
          </a:bodyPr>
          <a:lstStyle/>
          <a:p>
            <a:r>
              <a:rPr lang="en-US" sz="1600" dirty="0"/>
              <a:t>Games Released by Publisher</a:t>
            </a:r>
          </a:p>
        </p:txBody>
      </p:sp>
      <p:sp>
        <p:nvSpPr>
          <p:cNvPr id="16" name="TextBox 15">
            <a:extLst>
              <a:ext uri="{FF2B5EF4-FFF2-40B4-BE49-F238E27FC236}">
                <a16:creationId xmlns:a16="http://schemas.microsoft.com/office/drawing/2014/main" id="{1ED0813E-A8A1-47E8-A1DA-AE5CB1D6D590}"/>
              </a:ext>
            </a:extLst>
          </p:cNvPr>
          <p:cNvSpPr txBox="1"/>
          <p:nvPr/>
        </p:nvSpPr>
        <p:spPr>
          <a:xfrm>
            <a:off x="8488571" y="914102"/>
            <a:ext cx="2529860" cy="338554"/>
          </a:xfrm>
          <a:prstGeom prst="rect">
            <a:avLst/>
          </a:prstGeom>
          <a:noFill/>
        </p:spPr>
        <p:txBody>
          <a:bodyPr wrap="none" rtlCol="0">
            <a:spAutoFit/>
          </a:bodyPr>
          <a:lstStyle/>
          <a:p>
            <a:r>
              <a:rPr lang="en-US" sz="1600" dirty="0"/>
              <a:t>Global Sales by Publisher</a:t>
            </a:r>
          </a:p>
        </p:txBody>
      </p:sp>
      <p:sp>
        <p:nvSpPr>
          <p:cNvPr id="9" name="Google Shape;77;p8">
            <a:extLst>
              <a:ext uri="{FF2B5EF4-FFF2-40B4-BE49-F238E27FC236}">
                <a16:creationId xmlns:a16="http://schemas.microsoft.com/office/drawing/2014/main" id="{08A2098A-8A5C-458B-BFB2-2F338289A146}"/>
              </a:ext>
            </a:extLst>
          </p:cNvPr>
          <p:cNvSpPr/>
          <p:nvPr/>
        </p:nvSpPr>
        <p:spPr>
          <a:xfrm>
            <a:off x="10605599" y="594798"/>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
        <p:nvSpPr>
          <p:cNvPr id="10" name="TextBox 9">
            <a:extLst>
              <a:ext uri="{FF2B5EF4-FFF2-40B4-BE49-F238E27FC236}">
                <a16:creationId xmlns:a16="http://schemas.microsoft.com/office/drawing/2014/main" id="{4A2D965B-110C-4473-B4A6-BF21FDB33A7C}"/>
              </a:ext>
            </a:extLst>
          </p:cNvPr>
          <p:cNvSpPr txBox="1"/>
          <p:nvPr/>
        </p:nvSpPr>
        <p:spPr>
          <a:xfrm>
            <a:off x="260201" y="4707468"/>
            <a:ext cx="11336038" cy="1938992"/>
          </a:xfrm>
          <a:prstGeom prst="rect">
            <a:avLst/>
          </a:prstGeom>
          <a:noFill/>
          <a:ln w="19050">
            <a:solidFill>
              <a:schemeClr val="tx1"/>
            </a:solidFill>
            <a:prstDash val="dash"/>
          </a:ln>
        </p:spPr>
        <p:txBody>
          <a:bodyPr wrap="square" rtlCol="0">
            <a:spAutoFit/>
          </a:bodyPr>
          <a:lstStyle/>
          <a:p>
            <a:endParaRPr lang="en-US" sz="1200" dirty="0"/>
          </a:p>
          <a:p>
            <a:pPr marL="171450" indent="-171450">
              <a:buFont typeface="Arial" panose="020B0604020202020204" pitchFamily="34" charset="0"/>
              <a:buChar char="•"/>
            </a:pPr>
            <a:r>
              <a:rPr lang="en-US" sz="1200" b="1" dirty="0"/>
              <a:t>Electronic Arts</a:t>
            </a:r>
            <a:r>
              <a:rPr lang="en-US" sz="1200" dirty="0"/>
              <a:t> is clearly the leader in games released with over 1300 games from 2000-2016. This is over 40% higher than the next highest - </a:t>
            </a:r>
            <a:r>
              <a:rPr lang="en-US" sz="1200" b="1" dirty="0"/>
              <a:t>Activision</a:t>
            </a:r>
            <a:r>
              <a:rPr lang="en-US" sz="1200" dirty="0"/>
              <a:t>. The top 20 publishers make up close to 2/3 the entire volume of games, accounting for 10,375 games.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When switching to look at the top 20 publishers by units sold (vs games released), </a:t>
            </a:r>
            <a:r>
              <a:rPr lang="en-US" sz="1200" b="1" dirty="0"/>
              <a:t>Nintendo</a:t>
            </a:r>
            <a:r>
              <a:rPr lang="en-US" sz="1200" dirty="0"/>
              <a:t> is the clear leader with over 1.4 billion games sold (while it was 8th in terms of games released). While the top 20 publishers in units released make up 2/3 of that total, the top 20 publishers for units sold make up </a:t>
            </a:r>
            <a:r>
              <a:rPr lang="en-US" sz="1200" b="1" dirty="0"/>
              <a:t>86% </a:t>
            </a:r>
            <a:r>
              <a:rPr lang="en-US" sz="1200" dirty="0"/>
              <a:t>of the total.</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The dashboard gives additional publisher metrics on rollover and from this it is apparent that Nintendo has the highest average user score per game at </a:t>
            </a:r>
            <a:r>
              <a:rPr lang="en-US" sz="1200" b="1" dirty="0"/>
              <a:t>79.16</a:t>
            </a:r>
            <a:r>
              <a:rPr lang="en-US" sz="1200" dirty="0"/>
              <a:t>.  Given Nintendo’s enduring popularity across numerous platforms, it’s not a surprise that users love the games. This also explains why it leads in sales volume but is just 8</a:t>
            </a:r>
            <a:r>
              <a:rPr lang="en-US" sz="1200" baseline="30000" dirty="0"/>
              <a:t>th</a:t>
            </a:r>
            <a:r>
              <a:rPr lang="en-US" sz="1200" dirty="0"/>
              <a:t> in games released – it sells more per game (likely due to that high user sentiment).</a:t>
            </a:r>
          </a:p>
        </p:txBody>
      </p:sp>
      <p:sp>
        <p:nvSpPr>
          <p:cNvPr id="13" name="Google Shape;182;p5">
            <a:extLst>
              <a:ext uri="{FF2B5EF4-FFF2-40B4-BE49-F238E27FC236}">
                <a16:creationId xmlns:a16="http://schemas.microsoft.com/office/drawing/2014/main" id="{857FF900-6404-404A-A965-53B1D36E0FB2}"/>
              </a:ext>
            </a:extLst>
          </p:cNvPr>
          <p:cNvSpPr txBox="1">
            <a:spLocks/>
          </p:cNvSpPr>
          <p:nvPr/>
        </p:nvSpPr>
        <p:spPr>
          <a:xfrm>
            <a:off x="183517" y="272459"/>
            <a:ext cx="11824965" cy="71282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r>
              <a:rPr lang="en-US" sz="1500" kern="0" dirty="0">
                <a:solidFill>
                  <a:schemeClr val="tx1"/>
                </a:solidFill>
              </a:rPr>
              <a:t>Game release volume and sales by publisher show the clear leaders in terms of what companies are ultimately releasing games and could influence game purchases by consumers who want to stick with proven companies over time.</a:t>
            </a:r>
            <a:br>
              <a:rPr lang="en-US" sz="1632" kern="0" dirty="0">
                <a:solidFill>
                  <a:schemeClr val="tx1"/>
                </a:solidFill>
              </a:rPr>
            </a:br>
            <a:endParaRPr lang="en-US" sz="1632" kern="0" dirty="0">
              <a:solidFill>
                <a:schemeClr val="tx1"/>
              </a:solidFill>
            </a:endParaRPr>
          </a:p>
        </p:txBody>
      </p:sp>
    </p:spTree>
    <p:extLst>
      <p:ext uri="{BB962C8B-B14F-4D97-AF65-F5344CB8AC3E}">
        <p14:creationId xmlns:p14="http://schemas.microsoft.com/office/powerpoint/2010/main" val="256898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80125" y="313141"/>
            <a:ext cx="11851815" cy="502317"/>
          </a:xfrm>
          <a:prstGeom prst="rect">
            <a:avLst/>
          </a:prstGeom>
          <a:noFill/>
          <a:ln>
            <a:noFill/>
          </a:ln>
        </p:spPr>
        <p:txBody>
          <a:bodyPr spcFirstLastPara="1" wrap="square" lIns="0" tIns="0" rIns="0" bIns="0" anchor="t" anchorCtr="0">
            <a:spAutoFit/>
          </a:bodyPr>
          <a:lstStyle/>
          <a:p>
            <a:r>
              <a:rPr lang="en-US" sz="1632" dirty="0">
                <a:solidFill>
                  <a:srgbClr val="002060"/>
                </a:solidFill>
              </a:rPr>
              <a:t>Critic scores and user scores (sourced from Metacritic) are shown to provide an important game quality indicator for customers (or to provide a catalyst for a fun debate among gamers).</a:t>
            </a:r>
            <a:endParaRPr sz="1632" dirty="0">
              <a:solidFill>
                <a:srgbClr val="002060"/>
              </a:solidFill>
            </a:endParaRPr>
          </a:p>
        </p:txBody>
      </p:sp>
      <p:pic>
        <p:nvPicPr>
          <p:cNvPr id="3" name="Picture 2">
            <a:extLst>
              <a:ext uri="{FF2B5EF4-FFF2-40B4-BE49-F238E27FC236}">
                <a16:creationId xmlns:a16="http://schemas.microsoft.com/office/drawing/2014/main" id="{399CBDD6-3539-4A39-80F6-378CCF87808C}"/>
              </a:ext>
            </a:extLst>
          </p:cNvPr>
          <p:cNvPicPr>
            <a:picLocks noChangeAspect="1"/>
          </p:cNvPicPr>
          <p:nvPr/>
        </p:nvPicPr>
        <p:blipFill>
          <a:blip r:embed="rId3"/>
          <a:stretch>
            <a:fillRect/>
          </a:stretch>
        </p:blipFill>
        <p:spPr>
          <a:xfrm>
            <a:off x="4283222" y="1156294"/>
            <a:ext cx="7723302" cy="4099099"/>
          </a:xfrm>
          <a:prstGeom prst="rect">
            <a:avLst/>
          </a:prstGeom>
          <a:ln>
            <a:solidFill>
              <a:schemeClr val="tx1"/>
            </a:solidFill>
          </a:ln>
        </p:spPr>
      </p:pic>
      <p:pic>
        <p:nvPicPr>
          <p:cNvPr id="5" name="Picture 4">
            <a:extLst>
              <a:ext uri="{FF2B5EF4-FFF2-40B4-BE49-F238E27FC236}">
                <a16:creationId xmlns:a16="http://schemas.microsoft.com/office/drawing/2014/main" id="{BE384A67-A50E-4DB9-89AE-0D802EBFEBF0}"/>
              </a:ext>
            </a:extLst>
          </p:cNvPr>
          <p:cNvPicPr>
            <a:picLocks noChangeAspect="1"/>
          </p:cNvPicPr>
          <p:nvPr/>
        </p:nvPicPr>
        <p:blipFill>
          <a:blip r:embed="rId4"/>
          <a:stretch>
            <a:fillRect/>
          </a:stretch>
        </p:blipFill>
        <p:spPr>
          <a:xfrm>
            <a:off x="588796" y="1156295"/>
            <a:ext cx="2067778" cy="4127510"/>
          </a:xfrm>
          <a:prstGeom prst="rect">
            <a:avLst/>
          </a:prstGeom>
          <a:ln>
            <a:solidFill>
              <a:schemeClr val="tx1"/>
            </a:solidFill>
          </a:ln>
        </p:spPr>
      </p:pic>
      <p:sp>
        <p:nvSpPr>
          <p:cNvPr id="7" name="Google Shape;77;p8">
            <a:extLst>
              <a:ext uri="{FF2B5EF4-FFF2-40B4-BE49-F238E27FC236}">
                <a16:creationId xmlns:a16="http://schemas.microsoft.com/office/drawing/2014/main" id="{B344FACE-1968-4E39-98C5-E1581689AA49}"/>
              </a:ext>
            </a:extLst>
          </p:cNvPr>
          <p:cNvSpPr/>
          <p:nvPr/>
        </p:nvSpPr>
        <p:spPr>
          <a:xfrm>
            <a:off x="10389653" y="564299"/>
            <a:ext cx="1722222"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700" b="1" i="0" u="none" strike="noStrike" cap="none" dirty="0">
                <a:solidFill>
                  <a:schemeClr val="dk1"/>
                </a:solidFill>
                <a:latin typeface="Arial"/>
                <a:ea typeface="Arial"/>
                <a:cs typeface="Arial"/>
                <a:sym typeface="Arial"/>
              </a:rPr>
              <a:t>Source: Kaggle dataset sourced </a:t>
            </a:r>
            <a:endParaRPr lang="en-US" sz="700" b="1"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700" b="1" dirty="0">
                <a:solidFill>
                  <a:schemeClr val="dk1"/>
                </a:solidFill>
                <a:latin typeface="Arial"/>
                <a:ea typeface="Arial"/>
                <a:cs typeface="Arial"/>
                <a:sym typeface="Arial"/>
              </a:rPr>
              <a:t>from VGChartz.com and Metacritic</a:t>
            </a:r>
            <a:endParaRPr sz="700" b="0" i="0" u="none" strike="noStrike" cap="none" dirty="0">
              <a:solidFill>
                <a:srgbClr val="000000"/>
              </a:solidFill>
              <a:latin typeface="Arial"/>
              <a:ea typeface="Arial"/>
              <a:cs typeface="Arial"/>
              <a:sym typeface="Arial"/>
            </a:endParaRPr>
          </a:p>
        </p:txBody>
      </p:sp>
      <p:sp>
        <p:nvSpPr>
          <p:cNvPr id="8" name="TextBox 7">
            <a:extLst>
              <a:ext uri="{FF2B5EF4-FFF2-40B4-BE49-F238E27FC236}">
                <a16:creationId xmlns:a16="http://schemas.microsoft.com/office/drawing/2014/main" id="{53E9744C-E089-451D-B8D0-669E5B7BD740}"/>
              </a:ext>
            </a:extLst>
          </p:cNvPr>
          <p:cNvSpPr txBox="1"/>
          <p:nvPr/>
        </p:nvSpPr>
        <p:spPr>
          <a:xfrm>
            <a:off x="427981" y="5408619"/>
            <a:ext cx="11336038" cy="1015663"/>
          </a:xfrm>
          <a:prstGeom prst="rect">
            <a:avLst/>
          </a:prstGeom>
          <a:noFill/>
          <a:ln w="19050">
            <a:solidFill>
              <a:schemeClr val="tx1"/>
            </a:solidFill>
            <a:prstDash val="dash"/>
          </a:ln>
        </p:spPr>
        <p:txBody>
          <a:bodyPr wrap="square" rtlCol="0">
            <a:spAutoFit/>
          </a:bodyPr>
          <a:lstStyle/>
          <a:p>
            <a:endParaRPr lang="en-US" sz="1200" dirty="0"/>
          </a:p>
          <a:p>
            <a:pPr marL="171450" indent="-171450">
              <a:buFont typeface="Arial" panose="020B0604020202020204" pitchFamily="34" charset="0"/>
              <a:buChar char="•"/>
            </a:pPr>
            <a:r>
              <a:rPr lang="en-US" sz="1200" dirty="0"/>
              <a:t>Top critic scores (filtered as desired) are available on the “Platform” dashboard to immediately show the ‘best’ games as determined by game critics</a:t>
            </a:r>
            <a:br>
              <a:rPr lang="en-US" sz="1200" dirty="0"/>
            </a:br>
            <a:endParaRPr lang="en-US" sz="1200" dirty="0"/>
          </a:p>
          <a:p>
            <a:pPr marL="171450" indent="-171450">
              <a:buFont typeface="Arial" panose="020B0604020202020204" pitchFamily="34" charset="0"/>
              <a:buChar char="•"/>
            </a:pPr>
            <a:r>
              <a:rPr lang="en-US" sz="1200" dirty="0"/>
              <a:t>A scatterplot of critic score vs user score (sized by global sales) is available on the dashboard to visually see where games fall on the intersection of the critic/user score scale (hint: upper right is good, lower left is not) and display info on rollover.</a:t>
            </a:r>
          </a:p>
        </p:txBody>
      </p:sp>
    </p:spTree>
    <p:extLst>
      <p:ext uri="{BB962C8B-B14F-4D97-AF65-F5344CB8AC3E}">
        <p14:creationId xmlns:p14="http://schemas.microsoft.com/office/powerpoint/2010/main" val="2772573308"/>
      </p:ext>
    </p:extLst>
  </p:cSld>
  <p:clrMapOvr>
    <a:masterClrMapping/>
  </p:clrMapOvr>
</p:sld>
</file>

<file path=ppt/theme/theme1.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06</TotalTime>
  <Words>2076</Words>
  <Application>Microsoft Office PowerPoint</Application>
  <PresentationFormat>Widescreen</PresentationFormat>
  <Paragraphs>122</Paragraphs>
  <Slides>12</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Courier New</vt:lpstr>
      <vt:lpstr>1_Synergy_CF_YNR002</vt:lpstr>
      <vt:lpstr>TCLayout.ActiveDocument.1</vt:lpstr>
      <vt:lpstr>Springboard Data Analytics Program Capstone 2 Project    Video Game Market Data for 1995-2016 Using Python and Tableau</vt:lpstr>
      <vt:lpstr>ABC Games Co. can use historical video game market data to create an in-store data resource for game enthusiasts to provide entertainment, increase efficiency in answering game questions, and provide more guidance for customers on which games may be of interest. </vt:lpstr>
      <vt:lpstr> </vt:lpstr>
      <vt:lpstr>PowerPoint Presentation</vt:lpstr>
      <vt:lpstr>PowerPoint Presentation</vt:lpstr>
      <vt:lpstr>PowerPoint Presentation</vt:lpstr>
      <vt:lpstr>PowerPoint Presentation</vt:lpstr>
      <vt:lpstr>PowerPoint Presentation</vt:lpstr>
      <vt:lpstr>Critic scores and user scores (sourced from Metacritic) are shown to provide an important game quality indicator for customers (or to provide a catalyst for a fun debate among gamers).</vt:lpstr>
      <vt:lpstr>Showing video game information by genre and ESRB rating gives useful insight to customers interested in (or wanting to exclude) certain content in games.</vt:lpstr>
      <vt:lpstr>Overall game sales and scores appear to have a slight (but not strong) positive relationship, while critic and user scores are more directionally similar. </vt:lpstr>
      <vt:lpstr>Gamers often have their favorite platform companies they are loyal to, and various data charts show key platform info and trends throughout the yea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13 showed a ~20% spike in revenues Jan-March 2014 but a &gt;50% drop in revenues is expected Jan-April of 2015 due in large part to 4 month maintenance events in 2 plants.</dc:title>
  <dc:creator>Adam Muffitt</dc:creator>
  <cp:lastModifiedBy>Adam Muffitt</cp:lastModifiedBy>
  <cp:revision>10</cp:revision>
  <dcterms:created xsi:type="dcterms:W3CDTF">2020-02-25T13:55:10Z</dcterms:created>
  <dcterms:modified xsi:type="dcterms:W3CDTF">2020-04-08T20:18:38Z</dcterms:modified>
</cp:coreProperties>
</file>